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5.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8.xml" ContentType="application/vnd.openxmlformats-officedocument.theme+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77" r:id="rId5"/>
    <p:sldMasterId id="2147484305" r:id="rId6"/>
    <p:sldMasterId id="2147484335" r:id="rId7"/>
    <p:sldMasterId id="2147484354" r:id="rId8"/>
    <p:sldMasterId id="2147484381" r:id="rId9"/>
    <p:sldMasterId id="2147484424" r:id="rId10"/>
    <p:sldMasterId id="2147484464" r:id="rId11"/>
    <p:sldMasterId id="2147484483" r:id="rId12"/>
  </p:sldMasterIdLst>
  <p:notesMasterIdLst>
    <p:notesMasterId r:id="rId51"/>
  </p:notesMasterIdLst>
  <p:handoutMasterIdLst>
    <p:handoutMasterId r:id="rId52"/>
  </p:handoutMasterIdLst>
  <p:sldIdLst>
    <p:sldId id="1368" r:id="rId13"/>
    <p:sldId id="1370" r:id="rId14"/>
    <p:sldId id="1338" r:id="rId15"/>
    <p:sldId id="1372" r:id="rId16"/>
    <p:sldId id="1373" r:id="rId17"/>
    <p:sldId id="1374" r:id="rId18"/>
    <p:sldId id="1375" r:id="rId19"/>
    <p:sldId id="1376" r:id="rId20"/>
    <p:sldId id="1377" r:id="rId21"/>
    <p:sldId id="1378" r:id="rId22"/>
    <p:sldId id="1379" r:id="rId23"/>
    <p:sldId id="1380" r:id="rId24"/>
    <p:sldId id="1381" r:id="rId25"/>
    <p:sldId id="1382" r:id="rId26"/>
    <p:sldId id="1383" r:id="rId27"/>
    <p:sldId id="1384" r:id="rId28"/>
    <p:sldId id="1385" r:id="rId29"/>
    <p:sldId id="1386" r:id="rId30"/>
    <p:sldId id="1387" r:id="rId31"/>
    <p:sldId id="1388" r:id="rId32"/>
    <p:sldId id="1389" r:id="rId33"/>
    <p:sldId id="1390" r:id="rId34"/>
    <p:sldId id="1391" r:id="rId35"/>
    <p:sldId id="1392" r:id="rId36"/>
    <p:sldId id="1393" r:id="rId37"/>
    <p:sldId id="1394" r:id="rId38"/>
    <p:sldId id="1395" r:id="rId39"/>
    <p:sldId id="1396" r:id="rId40"/>
    <p:sldId id="1397" r:id="rId41"/>
    <p:sldId id="1398" r:id="rId42"/>
    <p:sldId id="1399" r:id="rId43"/>
    <p:sldId id="1400" r:id="rId44"/>
    <p:sldId id="1401" r:id="rId45"/>
    <p:sldId id="1402" r:id="rId46"/>
    <p:sldId id="1403" r:id="rId47"/>
    <p:sldId id="1404" r:id="rId48"/>
    <p:sldId id="1369" r:id="rId49"/>
    <p:sldId id="1326" r:id="rId5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68"/>
            <p14:sldId id="1370"/>
            <p14:sldId id="1338"/>
            <p14:sldId id="1372"/>
            <p14:sldId id="1373"/>
            <p14:sldId id="1374"/>
            <p14:sldId id="1375"/>
            <p14:sldId id="1376"/>
            <p14:sldId id="1377"/>
            <p14:sldId id="1378"/>
            <p14:sldId id="1379"/>
            <p14:sldId id="1380"/>
            <p14:sldId id="1381"/>
            <p14:sldId id="1382"/>
            <p14:sldId id="1383"/>
            <p14:sldId id="1384"/>
            <p14:sldId id="1385"/>
            <p14:sldId id="1386"/>
            <p14:sldId id="1387"/>
            <p14:sldId id="1388"/>
            <p14:sldId id="1389"/>
            <p14:sldId id="1390"/>
            <p14:sldId id="1391"/>
            <p14:sldId id="1392"/>
            <p14:sldId id="1393"/>
            <p14:sldId id="1394"/>
            <p14:sldId id="1395"/>
            <p14:sldId id="1396"/>
            <p14:sldId id="1397"/>
            <p14:sldId id="1398"/>
            <p14:sldId id="1399"/>
            <p14:sldId id="1400"/>
            <p14:sldId id="1401"/>
            <p14:sldId id="1402"/>
            <p14:sldId id="1403"/>
            <p14:sldId id="1404"/>
            <p14:sldId id="1369"/>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7D8FF"/>
    <a:srgbClr val="11CCFF"/>
    <a:srgbClr val="85E5FF"/>
    <a:srgbClr val="43D7FF"/>
    <a:srgbClr val="B4A0FF"/>
    <a:srgbClr val="505050"/>
    <a:srgbClr val="000000"/>
    <a:srgbClr val="00BCF2"/>
    <a:srgbClr val="5252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74" autoAdjust="0"/>
    <p:restoredTop sz="94256" autoAdjust="0"/>
  </p:normalViewPr>
  <p:slideViewPr>
    <p:cSldViewPr>
      <p:cViewPr varScale="1">
        <p:scale>
          <a:sx n="113" d="100"/>
          <a:sy n="113" d="100"/>
        </p:scale>
        <p:origin x="84" y="114"/>
      </p:cViewPr>
      <p:guideLst/>
    </p:cSldViewPr>
  </p:slideViewPr>
  <p:outlineViewPr>
    <p:cViewPr>
      <p:scale>
        <a:sx n="33" d="100"/>
        <a:sy n="33" d="100"/>
      </p:scale>
      <p:origin x="0" y="-342"/>
    </p:cViewPr>
  </p:outlin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5/2015 10:55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5/2015 10:55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5/2015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31601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088D5E3-B0C4-244E-905F-C9848084E0A1}" type="slidenum">
              <a:rPr lang="en-US" smtClean="0">
                <a:solidFill>
                  <a:prstClr val="black"/>
                </a:solidFill>
              </a:rPr>
              <a:pPr>
                <a:defRPr/>
              </a:pPr>
              <a:t>32</a:t>
            </a:fld>
            <a:endParaRPr lang="en-US">
              <a:solidFill>
                <a:prstClr val="black"/>
              </a:solidFill>
            </a:endParaRPr>
          </a:p>
        </p:txBody>
      </p:sp>
    </p:spTree>
    <p:extLst>
      <p:ext uri="{BB962C8B-B14F-4D97-AF65-F5344CB8AC3E}">
        <p14:creationId xmlns:p14="http://schemas.microsoft.com/office/powerpoint/2010/main" val="1049995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ED3A76CA-0F84-4DFC-A1F7-EE352ABC5520}"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40488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Ignite 2015</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5/5/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952442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5/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5924213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5/5/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AD69842-5C48-40B4-B6B9-D136E85793D4}"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019440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639C110-0329-A342-ADF7-762A01FA0DD6}"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588139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5/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98246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79745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772EAE-EF09-4CFC-9513-4CA89B040EC9}"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1694168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620F77E2-12AF-4027-A9AE-BE0C80ACEC26}" type="datetime8">
              <a:rPr lang="en-US" smtClean="0">
                <a:solidFill>
                  <a:prstClr val="black"/>
                </a:solidFill>
              </a:rPr>
              <a:pPr/>
              <a:t>5/5/2015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
        <p:nvSpPr>
          <p:cNvPr id="8" name="Footer Placeholder 7"/>
          <p:cNvSpPr>
            <a:spLocks noGrp="1"/>
          </p:cNvSpPr>
          <p:nvPr>
            <p:ph type="ftr" sz="quarter" idx="14"/>
          </p:nvPr>
        </p:nvSpPr>
        <p:spPr/>
        <p:txBody>
          <a:bodyPr/>
          <a:lstStyle/>
          <a:p>
            <a:pPr defTabSz="92278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40747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4155527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536687-5192-40E7-8597-ECEE8C4401BA}"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9314165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24.png"/><Relationship Id="rId4" Type="http://schemas.openxmlformats.org/officeDocument/2006/relationships/image" Target="../media/image23.pn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Divider_Color LG Text">
    <p:bg>
      <p:bgPr>
        <a:solidFill>
          <a:schemeClr val="accent1"/>
        </a:solidFill>
        <a:effectLst/>
      </p:bgPr>
    </p:bg>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494438" y="5913068"/>
            <a:ext cx="8018627" cy="574140"/>
          </a:xfrm>
        </p:spPr>
        <p:txBody>
          <a:bodyPr anchor="b" anchorCtr="0">
            <a:normAutofit/>
          </a:bodyPr>
          <a:lstStyle>
            <a:lvl1pPr>
              <a:defRPr sz="1904">
                <a:solidFill>
                  <a:schemeClr val="bg1"/>
                </a:solidFill>
                <a:latin typeface="+mn-lt"/>
              </a:defRPr>
            </a:lvl1pPr>
          </a:lstStyle>
          <a:p>
            <a:pPr lvl="0"/>
            <a:r>
              <a:rPr lang="en-US" dirty="0" smtClean="0"/>
              <a:t>Click to edit Master text styles</a:t>
            </a:r>
          </a:p>
        </p:txBody>
      </p:sp>
      <p:sp>
        <p:nvSpPr>
          <p:cNvPr id="10" name="Title 9"/>
          <p:cNvSpPr>
            <a:spLocks noGrp="1"/>
          </p:cNvSpPr>
          <p:nvPr>
            <p:ph type="title"/>
          </p:nvPr>
        </p:nvSpPr>
        <p:spPr>
          <a:xfrm>
            <a:off x="494440" y="2841686"/>
            <a:ext cx="11443283" cy="979948"/>
          </a:xfrm>
        </p:spPr>
        <p:txBody>
          <a:bodyPr>
            <a:spAutoFit/>
          </a:bodyPr>
          <a:lstStyle>
            <a:lvl1pPr>
              <a:lnSpc>
                <a:spcPct val="95000"/>
              </a:lnSpc>
              <a:defRPr sz="5440">
                <a:solidFill>
                  <a:schemeClr val="bg1"/>
                </a:solidFill>
                <a:latin typeface="Segoe UI Light"/>
                <a:cs typeface="Segoe UI Light"/>
              </a:defRPr>
            </a:lvl1pPr>
          </a:lstStyle>
          <a:p>
            <a:r>
              <a:rPr lang="en-US" dirty="0" smtClean="0"/>
              <a:t>Click to edit Master title style</a:t>
            </a:r>
            <a:endParaRPr lang="en-US" dirty="0"/>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684353" y="6175137"/>
            <a:ext cx="1368010" cy="46249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8461775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Blank_blue">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black">
          <a:xfrm>
            <a:off x="10561638" y="6267914"/>
            <a:ext cx="1382812" cy="296502"/>
          </a:xfrm>
          <a:prstGeom prst="rect">
            <a:avLst/>
          </a:prstGeom>
        </p:spPr>
      </p:pic>
      <p:sp>
        <p:nvSpPr>
          <p:cNvPr id="3" name="Freeform 2"/>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endParaRPr>
          </a:p>
        </p:txBody>
      </p:sp>
    </p:spTree>
    <p:extLst>
      <p:ext uri="{BB962C8B-B14F-4D97-AF65-F5344CB8AC3E}">
        <p14:creationId xmlns:p14="http://schemas.microsoft.com/office/powerpoint/2010/main" val="2993940373"/>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583" y="6240429"/>
            <a:ext cx="1280587" cy="274320"/>
          </a:xfrm>
          <a:prstGeom prst="rect">
            <a:avLst/>
          </a:prstGeom>
        </p:spPr>
      </p:pic>
    </p:spTree>
    <p:extLst>
      <p:ext uri="{BB962C8B-B14F-4D97-AF65-F5344CB8AC3E}">
        <p14:creationId xmlns:p14="http://schemas.microsoft.com/office/powerpoint/2010/main" val="99597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1154288"/>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30390921"/>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694693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4281768"/>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36574042"/>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35765377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4961"/>
            <a:ext cx="10056812" cy="1015663"/>
          </a:xfrm>
          <a:noFill/>
        </p:spPr>
        <p:txBody>
          <a:bodyPr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53077" y="3768007"/>
            <a:ext cx="10058401" cy="683264"/>
          </a:xfrm>
          <a:noFill/>
        </p:spPr>
        <p:txBody>
          <a:bodyPr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30877" y="3497262"/>
            <a:ext cx="731282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53077" y="4290790"/>
            <a:ext cx="10058401" cy="627864"/>
          </a:xfrm>
          <a:noFill/>
        </p:spPr>
        <p:txBody>
          <a:bodyPr lIns="182880" tIns="146304" rIns="182880" bIns="146304">
            <a:spAutoFit/>
          </a:bodyPr>
          <a:lstStyle>
            <a:lvl1pPr marL="0" indent="0">
              <a:spcBef>
                <a:spcPts val="0"/>
              </a:spcBef>
              <a:buNone/>
              <a:defRPr sz="24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728640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nnounc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75399" y="2284961"/>
            <a:ext cx="7086439" cy="1015663"/>
          </a:xfrm>
          <a:noFill/>
        </p:spPr>
        <p:txBody>
          <a:bodyPr wrap="square" tIns="91440" bIns="91440" anchor="b" anchorCtr="0">
            <a:spAutoFit/>
          </a:bodyPr>
          <a:lstStyle>
            <a:lvl1pPr>
              <a:defRPr sz="6000" spc="-100" baseline="0">
                <a:gradFill>
                  <a:gsLst>
                    <a:gs pos="0">
                      <a:schemeClr val="tx1"/>
                    </a:gs>
                    <a:gs pos="100000">
                      <a:schemeClr val="tx1"/>
                    </a:gs>
                  </a:gsLst>
                  <a:lin ang="5400000" scaled="0"/>
                </a:gradFill>
              </a:defRPr>
            </a:lvl1pPr>
          </a:lstStyle>
          <a:p>
            <a:r>
              <a:rPr lang="en-US" dirty="0" smtClean="0"/>
              <a:t>Announcing title</a:t>
            </a:r>
            <a:endParaRPr lang="en-US" dirty="0"/>
          </a:p>
        </p:txBody>
      </p:sp>
      <p:sp>
        <p:nvSpPr>
          <p:cNvPr id="5" name="Text Placeholder 4"/>
          <p:cNvSpPr>
            <a:spLocks noGrp="1"/>
          </p:cNvSpPr>
          <p:nvPr>
            <p:ph type="body" sz="quarter" idx="12" hasCustomPrompt="1"/>
          </p:nvPr>
        </p:nvSpPr>
        <p:spPr>
          <a:xfrm>
            <a:off x="5096036" y="3768007"/>
            <a:ext cx="7087559"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Content placeholder</a:t>
            </a:r>
          </a:p>
        </p:txBody>
      </p:sp>
      <p:cxnSp>
        <p:nvCxnSpPr>
          <p:cNvPr id="10" name="Straight Connector 9"/>
          <p:cNvCxnSpPr/>
          <p:nvPr userDrawn="1"/>
        </p:nvCxnSpPr>
        <p:spPr>
          <a:xfrm>
            <a:off x="5273836" y="3497262"/>
            <a:ext cx="632866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54244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4.28389E-6 2.19246E-6 " pathEditMode="relative" rAng="0" ptsTypes="AA">
                                      <p:cBhvr>
                                        <p:cTn id="15" dur="600" fill="hold"/>
                                        <p:tgtEl>
                                          <p:spTgt spid="5"/>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4.28389E-6 2.19246E-6 " pathEditMode="relative" rAng="0" ptsTypes="AA">
                      <p:cBhvr>
                        <p:cTn dur="600" fill="hold"/>
                        <p:tgtEl>
                          <p:spTgt spid="5"/>
                        </p:tgtEl>
                        <p:attrNameLst>
                          <p:attrName>ppt_x</p:attrName>
                          <p:attrName>ppt_y</p:attrName>
                        </p:attrNameLst>
                      </p:cBhvr>
                      <p:rCtr x="1966" y="23"/>
                    </p:animMotion>
                  </p:childTnLst>
                </p:cTn>
              </p:par>
            </p:tnLst>
          </p:tmpl>
        </p:tmplLst>
      </p:bldP>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59748135"/>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8379986"/>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8756089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42854888"/>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2440" y="2283441"/>
            <a:ext cx="11329398"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97057401"/>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_charcoal_BUILD LOGO">
    <p:bg>
      <p:bgPr>
        <a:solidFill>
          <a:schemeClr val="bg1"/>
        </a:solidFill>
        <a:effectLst/>
      </p:bgPr>
    </p:bg>
    <p:spTree>
      <p:nvGrpSpPr>
        <p:cNvPr id="1" name=""/>
        <p:cNvGrpSpPr/>
        <p:nvPr/>
      </p:nvGrpSpPr>
      <p:grpSpPr>
        <a:xfrm>
          <a:off x="0" y="0"/>
          <a:ext cx="0" cy="0"/>
          <a:chOff x="0" y="0"/>
          <a:chExt cx="0" cy="0"/>
        </a:xfrm>
      </p:grpSpPr>
      <p:sp>
        <p:nvSpPr>
          <p:cNvPr id="4" name="Freeform 3"/>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endParaRPr>
          </a:p>
        </p:txBody>
      </p:sp>
    </p:spTree>
    <p:extLst>
      <p:ext uri="{BB962C8B-B14F-4D97-AF65-F5344CB8AC3E}">
        <p14:creationId xmlns:p14="http://schemas.microsoft.com/office/powerpoint/2010/main" val="2072599268"/>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_blue_BUILD LOGO">
    <p:bg>
      <p:bgPr>
        <a:solidFill>
          <a:schemeClr val="accent1"/>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endParaRPr>
          </a:p>
        </p:txBody>
      </p:sp>
    </p:spTree>
    <p:extLst>
      <p:ext uri="{BB962C8B-B14F-4D97-AF65-F5344CB8AC3E}">
        <p14:creationId xmlns:p14="http://schemas.microsoft.com/office/powerpoint/2010/main" val="176441877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_gray_BUILD LOGO">
    <p:bg>
      <p:bgPr>
        <a:solidFill>
          <a:schemeClr val="accent2"/>
        </a:solidFill>
        <a:effectLst/>
      </p:bgPr>
    </p:bg>
    <p:spTree>
      <p:nvGrpSpPr>
        <p:cNvPr id="1" name=""/>
        <p:cNvGrpSpPr/>
        <p:nvPr/>
      </p:nvGrpSpPr>
      <p:grpSpPr>
        <a:xfrm>
          <a:off x="0" y="0"/>
          <a:ext cx="0" cy="0"/>
          <a:chOff x="0" y="0"/>
          <a:chExt cx="0" cy="0"/>
        </a:xfrm>
      </p:grpSpPr>
      <p:sp>
        <p:nvSpPr>
          <p:cNvPr id="3" name="Freeform 2"/>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FFFFFF"/>
              </a:solidFill>
            </a:endParaRPr>
          </a:p>
        </p:txBody>
      </p:sp>
    </p:spTree>
    <p:extLst>
      <p:ext uri="{BB962C8B-B14F-4D97-AF65-F5344CB8AC3E}">
        <p14:creationId xmlns:p14="http://schemas.microsoft.com/office/powerpoint/2010/main" val="2977801858"/>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_silver_BUILD LOGO">
    <p:bg>
      <p:bgPr>
        <a:solidFill>
          <a:schemeClr val="bg2"/>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10744288" y="6344302"/>
            <a:ext cx="1408241" cy="353361"/>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333333"/>
              </a:solidFill>
            </a:endParaRPr>
          </a:p>
        </p:txBody>
      </p:sp>
    </p:spTree>
    <p:extLst>
      <p:ext uri="{BB962C8B-B14F-4D97-AF65-F5344CB8AC3E}">
        <p14:creationId xmlns:p14="http://schemas.microsoft.com/office/powerpoint/2010/main" val="27417917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5441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627812"/>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_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6775977"/>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_silv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6516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_cyan">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8354915"/>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defRPr/>
            </a:pPr>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black">
          <a:xfrm>
            <a:off x="459232" y="3145040"/>
            <a:ext cx="3291840" cy="705836"/>
          </a:xfrm>
          <a:prstGeom prst="rect">
            <a:avLst/>
          </a:prstGeom>
        </p:spPr>
      </p:pic>
    </p:spTree>
    <p:extLst>
      <p:ext uri="{BB962C8B-B14F-4D97-AF65-F5344CB8AC3E}">
        <p14:creationId xmlns:p14="http://schemas.microsoft.com/office/powerpoint/2010/main" val="199467091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47473533"/>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3254641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768982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130920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0562244"/>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5411934"/>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76723124"/>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113137"/>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9521156"/>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1468367"/>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8225043"/>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77470344"/>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181214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2584973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381192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765699874"/>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83481510"/>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6466547"/>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69385945"/>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14727961"/>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4182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9505949"/>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347856"/>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048736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9439151"/>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41883905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95961292"/>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500475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3" name="Rectangle 2"/>
          <p:cNvSpPr/>
          <p:nvPr userDrawn="1"/>
        </p:nvSpPr>
        <p:spPr bwMode="auto">
          <a:xfrm>
            <a:off x="6351024" y="0"/>
            <a:ext cx="6089234" cy="69935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274639" y="295276"/>
            <a:ext cx="5896601" cy="917575"/>
          </a:xfrm>
        </p:spPr>
        <p:txBody>
          <a:bodyPr/>
          <a:lstStyle>
            <a:lvl1pPr>
              <a:defRPr>
                <a:solidFill>
                  <a:schemeClr val="tx1"/>
                </a:solidFill>
              </a:defRPr>
            </a:lvl1pPr>
          </a:lstStyle>
          <a:p>
            <a:r>
              <a:rPr lang="en-US" dirty="0" smtClean="0"/>
              <a:t>Click to edit Master</a:t>
            </a:r>
            <a:endParaRPr lang="en-US" dirty="0"/>
          </a:p>
        </p:txBody>
      </p:sp>
      <p:sp>
        <p:nvSpPr>
          <p:cNvPr id="7" name="Text Placeholder 6"/>
          <p:cNvSpPr>
            <a:spLocks noGrp="1"/>
          </p:cNvSpPr>
          <p:nvPr>
            <p:ph type="body" sz="quarter" idx="10"/>
          </p:nvPr>
        </p:nvSpPr>
        <p:spPr>
          <a:xfrm>
            <a:off x="274639" y="2057140"/>
            <a:ext cx="5486400" cy="2879250"/>
          </a:xfrm>
        </p:spPr>
        <p:txBody>
          <a:bodyPr lIns="91440" rIns="91440" anchor="ctr"/>
          <a:lstStyle>
            <a:lvl1pPr marL="0" indent="0">
              <a:spcBef>
                <a:spcPts val="1224"/>
              </a:spcBef>
              <a:buNone/>
              <a:defRPr sz="3600" b="0">
                <a:solidFill>
                  <a:schemeClr val="tx1"/>
                </a:solidFill>
              </a:defRPr>
            </a:lvl1pPr>
            <a:lvl2pPr marL="0" indent="0">
              <a:spcBef>
                <a:spcPts val="600"/>
              </a:spcBef>
              <a:spcAft>
                <a:spcPts val="306"/>
              </a:spcAft>
              <a:buNone/>
              <a:defRPr sz="2800" b="0">
                <a:solidFill>
                  <a:schemeClr val="tx1"/>
                </a:solidFill>
              </a:defRPr>
            </a:lvl2pPr>
            <a:lvl3pPr marL="0" indent="0">
              <a:spcBef>
                <a:spcPts val="0"/>
              </a:spcBef>
              <a:spcAft>
                <a:spcPts val="1200"/>
              </a:spcAft>
              <a:buNone/>
              <a:defRPr sz="2400">
                <a:solidFill>
                  <a:schemeClr val="tx1"/>
                </a:solidFill>
              </a:defRPr>
            </a:lvl3pPr>
            <a:lvl4pPr marL="0" indent="0">
              <a:spcBef>
                <a:spcPts val="600"/>
              </a:spcBef>
              <a:buNone/>
              <a:defRPr sz="2000">
                <a:solidFill>
                  <a:schemeClr val="tx1"/>
                </a:solidFill>
              </a:defRPr>
            </a:lvl4pPr>
            <a:lvl5pPr marL="0" indent="0">
              <a:spcBef>
                <a:spcPts val="600"/>
              </a:spcBef>
              <a:buNone/>
              <a:defRPr sz="20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5458044"/>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8">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00409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4159958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5129158"/>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sp>
        <p:nvSpPr>
          <p:cNvPr id="12" name="Rectangle 11"/>
          <p:cNvSpPr/>
          <p:nvPr userDrawn="1"/>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smtClean="0"/>
              <a:t>Click to edit Master title sty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2106783442"/>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466637" cy="6994525"/>
          </a:xfrm>
          <a:prstGeom prst="rect">
            <a:avLst/>
          </a:prstGeom>
        </p:spPr>
      </p:pic>
    </p:spTree>
    <p:extLst>
      <p:ext uri="{BB962C8B-B14F-4D97-AF65-F5344CB8AC3E}">
        <p14:creationId xmlns:p14="http://schemas.microsoft.com/office/powerpoint/2010/main" val="3696390157"/>
      </p:ext>
    </p:extLst>
  </p:cSld>
  <p:clrMapOvr>
    <a:masterClrMapping/>
  </p:clrMapOvr>
  <p:transition spd="med">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4" name="Footer Placeholder 2"/>
          <p:cNvSpPr>
            <a:spLocks noGrp="1"/>
          </p:cNvSpPr>
          <p:nvPr>
            <p:ph type="ftr" sz="quarter" idx="14"/>
          </p:nvPr>
        </p:nvSpPr>
        <p:spPr>
          <a:xfrm>
            <a:off x="457200" y="6565901"/>
            <a:ext cx="3937000" cy="136525"/>
          </a:xfrm>
          <a:prstGeom prst="rect">
            <a:avLst/>
          </a:prstGeom>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a:xfrm>
            <a:off x="11595101" y="6565901"/>
            <a:ext cx="566738" cy="136525"/>
          </a:xfrm>
          <a:prstGeom prst="rect">
            <a:avLst/>
          </a:prstGeom>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265618520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7711477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76386241"/>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201">
                <a:solidFill>
                  <a:schemeClr val="tx2"/>
                </a:solidFill>
              </a:defRPr>
            </a:lvl1pPr>
          </a:lstStyle>
          <a:p>
            <a:r>
              <a:rPr lang="en-US" smtClean="0"/>
              <a:t>Click to edit Master title style</a:t>
            </a:r>
            <a:endParaRPr lang="en-US" dirty="0"/>
          </a:p>
        </p:txBody>
      </p:sp>
      <p:sp>
        <p:nvSpPr>
          <p:cNvPr id="3" name="Footer Placeholder 2"/>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a:solidFill>
                  <a:srgbClr val="002050"/>
                </a:solidFill>
              </a:defRPr>
            </a:lvl1pPr>
          </a:lstStyle>
          <a:p>
            <a:endParaRPr lang="en-US"/>
          </a:p>
        </p:txBody>
      </p:sp>
      <p:sp>
        <p:nvSpPr>
          <p:cNvPr id="4" name="Slide Number Placeholder 3"/>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a:solidFill>
                  <a:srgbClr val="002050"/>
                </a:solidFill>
              </a:defRPr>
            </a:lvl1pPr>
          </a:lstStyle>
          <a:p>
            <a:fld id="{32FBFAE1-4542-4046-A9C2-27E9CAFA82CD}" type="slidenum">
              <a:rPr lang="en-US" smtClean="0"/>
              <a:pPr/>
              <a:t>‹#›</a:t>
            </a:fld>
            <a:endParaRPr lang="en-US"/>
          </a:p>
        </p:txBody>
      </p:sp>
    </p:spTree>
    <p:extLst>
      <p:ext uri="{BB962C8B-B14F-4D97-AF65-F5344CB8AC3E}">
        <p14:creationId xmlns:p14="http://schemas.microsoft.com/office/powerpoint/2010/main" val="226228752"/>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579687"/>
            <a:ext cx="3657600" cy="1009014"/>
          </a:xfrm>
        </p:spPr>
        <p:txBody>
          <a:bodyPr anchor="ctr"/>
          <a:lstStyle>
            <a:lvl1pPr>
              <a:defRPr sz="6000">
                <a:solidFill>
                  <a:schemeClr val="tx2"/>
                </a:solidFill>
              </a:defRPr>
            </a:lvl1pPr>
          </a:lstStyle>
          <a:p>
            <a:r>
              <a:rPr lang="en-US" dirty="0" smtClean="0"/>
              <a:t>Click to edit style</a:t>
            </a:r>
            <a:endParaRPr lang="en-US" dirty="0"/>
          </a:p>
        </p:txBody>
      </p:sp>
      <p:sp>
        <p:nvSpPr>
          <p:cNvPr id="5" name="Rectangle 4"/>
          <p:cNvSpPr/>
          <p:nvPr userDrawn="1"/>
        </p:nvSpPr>
        <p:spPr bwMode="auto">
          <a:xfrm>
            <a:off x="4846639" y="0"/>
            <a:ext cx="7589836"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523787947"/>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5275"/>
            <a:ext cx="5379817" cy="917575"/>
          </a:xfrm>
        </p:spPr>
        <p:txBody>
          <a:bodyPr/>
          <a:lstStyle/>
          <a:p>
            <a:r>
              <a:rPr lang="en-US" dirty="0" smtClean="0"/>
              <a:t>Click to edit style</a:t>
            </a:r>
            <a:endParaRPr lang="en-US" dirty="0"/>
          </a:p>
        </p:txBody>
      </p:sp>
      <p:sp>
        <p:nvSpPr>
          <p:cNvPr id="4" name="Text Placeholder 3"/>
          <p:cNvSpPr>
            <a:spLocks noGrp="1"/>
          </p:cNvSpPr>
          <p:nvPr>
            <p:ph type="body" sz="quarter" idx="10"/>
          </p:nvPr>
        </p:nvSpPr>
        <p:spPr>
          <a:xfrm>
            <a:off x="274638" y="1820862"/>
            <a:ext cx="5303526" cy="2558741"/>
          </a:xfrm>
        </p:spPr>
        <p:txBody>
          <a:bodyPr/>
          <a:lstStyle>
            <a:lvl1pPr marL="0" indent="0">
              <a:spcBef>
                <a:spcPts val="0"/>
              </a:spcBef>
              <a:spcAft>
                <a:spcPts val="600"/>
              </a:spcAft>
              <a:buNone/>
              <a:defRPr/>
            </a:lvl1pPr>
            <a:lvl2pPr marL="0" indent="0">
              <a:spcBef>
                <a:spcPts val="0"/>
              </a:spcBef>
              <a:spcAft>
                <a:spcPts val="1200"/>
              </a:spcAft>
              <a:buNone/>
              <a:defRPr sz="3200">
                <a:latin typeface="+mj-lt"/>
              </a:defRPr>
            </a:lvl2pPr>
            <a:lvl3pPr marL="0" indent="0">
              <a:spcBef>
                <a:spcPts val="0"/>
              </a:spcBef>
              <a:spcAft>
                <a:spcPts val="600"/>
              </a:spcAft>
              <a:buNone/>
              <a:defRPr/>
            </a:lvl3pPr>
            <a:lvl4pPr marL="0" indent="0">
              <a:spcBef>
                <a:spcPts val="0"/>
              </a:spcBef>
              <a:spcAft>
                <a:spcPts val="600"/>
              </a:spcAft>
              <a:buNone/>
              <a:defRPr/>
            </a:lvl4pPr>
            <a:lvl5pPr marL="0" indent="0">
              <a:spcBef>
                <a:spcPts val="0"/>
              </a:spcBef>
              <a:spcAft>
                <a:spcPts val="600"/>
              </a:spcAft>
              <a:buNone/>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userDrawn="1"/>
        </p:nvSpPr>
        <p:spPr bwMode="auto">
          <a:xfrm>
            <a:off x="5761037" y="0"/>
            <a:ext cx="6675437"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 name="Text Placeholder 6"/>
          <p:cNvSpPr>
            <a:spLocks noGrp="1"/>
          </p:cNvSpPr>
          <p:nvPr>
            <p:ph type="body" sz="quarter" idx="11"/>
          </p:nvPr>
        </p:nvSpPr>
        <p:spPr>
          <a:xfrm>
            <a:off x="274638" y="1052672"/>
            <a:ext cx="5379817" cy="572464"/>
          </a:xfrm>
        </p:spPr>
        <p:txBody>
          <a:bodyPr/>
          <a:lstStyle>
            <a:lvl1pPr marL="0" indent="0">
              <a:buNone/>
              <a:defRPr sz="2800">
                <a:solidFill>
                  <a:schemeClr val="tx2"/>
                </a:solidFill>
              </a:defRPr>
            </a:lvl1pPr>
            <a:lvl2pPr marL="342873" indent="0">
              <a:buNone/>
              <a:defRPr/>
            </a:lvl2pPr>
            <a:lvl3pPr marL="571454" indent="0">
              <a:buNone/>
              <a:defRPr/>
            </a:lvl3pPr>
            <a:lvl4pPr marL="800036" indent="0">
              <a:buNone/>
              <a:defRPr/>
            </a:lvl4pPr>
            <a:lvl5pPr marL="1028617" indent="0">
              <a:buNone/>
              <a:defRPr/>
            </a:lvl5pPr>
          </a:lstStyle>
          <a:p>
            <a:pPr lvl="0"/>
            <a:r>
              <a:rPr lang="en-US" dirty="0" smtClean="0"/>
              <a:t>Click to edit Master text</a:t>
            </a:r>
            <a:endParaRPr lang="en-US" dirty="0"/>
          </a:p>
        </p:txBody>
      </p:sp>
    </p:spTree>
    <p:extLst>
      <p:ext uri="{BB962C8B-B14F-4D97-AF65-F5344CB8AC3E}">
        <p14:creationId xmlns:p14="http://schemas.microsoft.com/office/powerpoint/2010/main" val="1391271192"/>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5275"/>
            <a:ext cx="5486400" cy="917575"/>
          </a:xfrm>
        </p:spPr>
        <p:txBody>
          <a:bodyPr/>
          <a:lstStyle/>
          <a:p>
            <a:r>
              <a:rPr lang="en-US" dirty="0" smtClean="0"/>
              <a:t>Click to edit style</a:t>
            </a:r>
            <a:endParaRPr lang="en-US" dirty="0"/>
          </a:p>
        </p:txBody>
      </p:sp>
      <p:sp>
        <p:nvSpPr>
          <p:cNvPr id="5" name="Rectangle 4"/>
          <p:cNvSpPr/>
          <p:nvPr userDrawn="1"/>
        </p:nvSpPr>
        <p:spPr bwMode="auto">
          <a:xfrm>
            <a:off x="5761037" y="0"/>
            <a:ext cx="6675437"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 name="Text Placeholder 6"/>
          <p:cNvSpPr>
            <a:spLocks noGrp="1"/>
          </p:cNvSpPr>
          <p:nvPr>
            <p:ph type="body" sz="quarter" idx="11" hasCustomPrompt="1"/>
          </p:nvPr>
        </p:nvSpPr>
        <p:spPr>
          <a:xfrm>
            <a:off x="274639" y="1052672"/>
            <a:ext cx="5486400" cy="572464"/>
          </a:xfrm>
        </p:spPr>
        <p:txBody>
          <a:bodyPr/>
          <a:lstStyle>
            <a:lvl1pPr marL="0" indent="0">
              <a:buNone/>
              <a:defRPr sz="2800">
                <a:solidFill>
                  <a:schemeClr val="tx2"/>
                </a:solidFill>
              </a:defRPr>
            </a:lvl1pPr>
            <a:lvl2pPr marL="342873" indent="0">
              <a:buNone/>
              <a:defRPr/>
            </a:lvl2pPr>
            <a:lvl3pPr marL="571454" indent="0">
              <a:buNone/>
              <a:defRPr/>
            </a:lvl3pPr>
            <a:lvl4pPr marL="800036" indent="0">
              <a:buNone/>
              <a:defRPr/>
            </a:lvl4pPr>
            <a:lvl5pPr marL="1028617" indent="0">
              <a:buNone/>
              <a:defRPr/>
            </a:lvl5pPr>
          </a:lstStyle>
          <a:p>
            <a:pPr lvl="0"/>
            <a:r>
              <a:rPr lang="en-US" dirty="0" smtClean="0"/>
              <a:t>Click to edit aster text</a:t>
            </a:r>
            <a:endParaRPr lang="en-US" dirty="0"/>
          </a:p>
        </p:txBody>
      </p:sp>
      <p:sp>
        <p:nvSpPr>
          <p:cNvPr id="6" name="Text Placeholder 3"/>
          <p:cNvSpPr>
            <a:spLocks noGrp="1"/>
          </p:cNvSpPr>
          <p:nvPr>
            <p:ph type="body" sz="quarter" idx="12"/>
          </p:nvPr>
        </p:nvSpPr>
        <p:spPr>
          <a:xfrm>
            <a:off x="274638" y="1820862"/>
            <a:ext cx="5486400" cy="2265236"/>
          </a:xfrm>
        </p:spPr>
        <p:txBody>
          <a:bodyPr/>
          <a:lstStyle>
            <a:lvl1pPr marL="0" indent="0">
              <a:spcBef>
                <a:spcPts val="1000"/>
              </a:spcBef>
              <a:spcAft>
                <a:spcPts val="0"/>
              </a:spcAft>
              <a:buNone/>
              <a:defRPr/>
            </a:lvl1pPr>
            <a:lvl2pPr marL="0" indent="0">
              <a:spcBef>
                <a:spcPts val="0"/>
              </a:spcBef>
              <a:spcAft>
                <a:spcPts val="1200"/>
              </a:spcAft>
              <a:buNone/>
              <a:defRPr sz="2800">
                <a:latin typeface="+mj-lt"/>
              </a:defRPr>
            </a:lvl2pPr>
            <a:lvl3pPr marL="0" indent="0">
              <a:spcBef>
                <a:spcPts val="0"/>
              </a:spcBef>
              <a:spcAft>
                <a:spcPts val="600"/>
              </a:spcAft>
              <a:buNone/>
              <a:defRPr/>
            </a:lvl3pPr>
            <a:lvl4pPr marL="0" indent="0">
              <a:spcBef>
                <a:spcPts val="0"/>
              </a:spcBef>
              <a:spcAft>
                <a:spcPts val="600"/>
              </a:spcAft>
              <a:buNone/>
              <a:defRPr/>
            </a:lvl4pPr>
            <a:lvl5pPr marL="0" indent="0">
              <a:spcBef>
                <a:spcPts val="0"/>
              </a:spcBef>
              <a:spcAft>
                <a:spcPts val="600"/>
              </a:spcAft>
              <a:buNone/>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41149346"/>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5275"/>
            <a:ext cx="5791199" cy="917575"/>
          </a:xfrm>
        </p:spPr>
        <p:txBody>
          <a:bodyPr/>
          <a:lstStyle/>
          <a:p>
            <a:r>
              <a:rPr lang="en-US" dirty="0" smtClean="0"/>
              <a:t>Click to edit style</a:t>
            </a:r>
            <a:endParaRPr lang="en-US" dirty="0"/>
          </a:p>
        </p:txBody>
      </p:sp>
      <p:sp>
        <p:nvSpPr>
          <p:cNvPr id="5" name="Rectangle 4"/>
          <p:cNvSpPr/>
          <p:nvPr userDrawn="1"/>
        </p:nvSpPr>
        <p:spPr bwMode="auto">
          <a:xfrm>
            <a:off x="6218237" y="0"/>
            <a:ext cx="6218237"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 name="Text Placeholder 6"/>
          <p:cNvSpPr>
            <a:spLocks noGrp="1"/>
          </p:cNvSpPr>
          <p:nvPr>
            <p:ph type="body" sz="quarter" idx="11"/>
          </p:nvPr>
        </p:nvSpPr>
        <p:spPr>
          <a:xfrm>
            <a:off x="274638" y="1052672"/>
            <a:ext cx="5791199" cy="572464"/>
          </a:xfrm>
        </p:spPr>
        <p:txBody>
          <a:bodyPr/>
          <a:lstStyle>
            <a:lvl1pPr marL="0" indent="0">
              <a:buNone/>
              <a:defRPr sz="2800">
                <a:solidFill>
                  <a:schemeClr val="tx2"/>
                </a:solidFill>
              </a:defRPr>
            </a:lvl1pPr>
            <a:lvl2pPr marL="342873" indent="0">
              <a:buNone/>
              <a:defRPr/>
            </a:lvl2pPr>
            <a:lvl3pPr marL="571454" indent="0">
              <a:buNone/>
              <a:defRPr/>
            </a:lvl3pPr>
            <a:lvl4pPr marL="800036" indent="0">
              <a:buNone/>
              <a:defRPr/>
            </a:lvl4pPr>
            <a:lvl5pPr marL="1028617" indent="0">
              <a:buNone/>
              <a:defRPr/>
            </a:lvl5pPr>
          </a:lstStyle>
          <a:p>
            <a:pPr lvl="0"/>
            <a:r>
              <a:rPr lang="en-US" dirty="0" smtClean="0"/>
              <a:t>Click to edit Master text</a:t>
            </a:r>
            <a:endParaRPr lang="en-US" dirty="0"/>
          </a:p>
        </p:txBody>
      </p:sp>
      <p:sp>
        <p:nvSpPr>
          <p:cNvPr id="6" name="Text Placeholder 3"/>
          <p:cNvSpPr>
            <a:spLocks noGrp="1"/>
          </p:cNvSpPr>
          <p:nvPr>
            <p:ph type="body" sz="quarter" idx="12"/>
          </p:nvPr>
        </p:nvSpPr>
        <p:spPr>
          <a:xfrm>
            <a:off x="274637" y="1820862"/>
            <a:ext cx="5791199" cy="2265236"/>
          </a:xfrm>
        </p:spPr>
        <p:txBody>
          <a:bodyPr/>
          <a:lstStyle>
            <a:lvl1pPr marL="0" indent="0">
              <a:spcBef>
                <a:spcPts val="1200"/>
              </a:spcBef>
              <a:spcAft>
                <a:spcPts val="0"/>
              </a:spcAft>
              <a:buNone/>
              <a:defRPr/>
            </a:lvl1pPr>
            <a:lvl2pPr marL="0" indent="0">
              <a:spcBef>
                <a:spcPts val="0"/>
              </a:spcBef>
              <a:spcAft>
                <a:spcPts val="1200"/>
              </a:spcAft>
              <a:buNone/>
              <a:defRPr sz="2800">
                <a:latin typeface="+mj-lt"/>
              </a:defRPr>
            </a:lvl2pPr>
            <a:lvl3pPr marL="0" indent="0">
              <a:spcBef>
                <a:spcPts val="0"/>
              </a:spcBef>
              <a:spcAft>
                <a:spcPts val="600"/>
              </a:spcAft>
              <a:buNone/>
              <a:defRPr/>
            </a:lvl3pPr>
            <a:lvl4pPr marL="0" indent="0">
              <a:spcBef>
                <a:spcPts val="0"/>
              </a:spcBef>
              <a:spcAft>
                <a:spcPts val="600"/>
              </a:spcAft>
              <a:buNone/>
              <a:defRPr/>
            </a:lvl4pPr>
            <a:lvl5pPr marL="0" indent="0">
              <a:spcBef>
                <a:spcPts val="0"/>
              </a:spcBef>
              <a:spcAft>
                <a:spcPts val="600"/>
              </a:spcAft>
              <a:buNone/>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85561584"/>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5275"/>
            <a:ext cx="6724763" cy="917575"/>
          </a:xfrm>
        </p:spPr>
        <p:txBody>
          <a:bodyPr/>
          <a:lstStyle/>
          <a:p>
            <a:r>
              <a:rPr lang="en-US" dirty="0" smtClean="0"/>
              <a:t>Click to edit style</a:t>
            </a:r>
            <a:endParaRPr lang="en-US" dirty="0"/>
          </a:p>
        </p:txBody>
      </p:sp>
      <p:sp>
        <p:nvSpPr>
          <p:cNvPr id="5" name="Rectangle 4"/>
          <p:cNvSpPr/>
          <p:nvPr userDrawn="1"/>
        </p:nvSpPr>
        <p:spPr bwMode="auto">
          <a:xfrm>
            <a:off x="7132637" y="0"/>
            <a:ext cx="5303837"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 name="Text Placeholder 6"/>
          <p:cNvSpPr>
            <a:spLocks noGrp="1"/>
          </p:cNvSpPr>
          <p:nvPr>
            <p:ph type="body" sz="quarter" idx="11" hasCustomPrompt="1"/>
          </p:nvPr>
        </p:nvSpPr>
        <p:spPr>
          <a:xfrm>
            <a:off x="274638" y="1052672"/>
            <a:ext cx="6724763" cy="572464"/>
          </a:xfrm>
        </p:spPr>
        <p:txBody>
          <a:bodyPr/>
          <a:lstStyle>
            <a:lvl1pPr marL="0" indent="0">
              <a:buNone/>
              <a:defRPr sz="2800">
                <a:solidFill>
                  <a:schemeClr val="tx2"/>
                </a:solidFill>
              </a:defRPr>
            </a:lvl1pPr>
            <a:lvl2pPr marL="342873" indent="0">
              <a:buNone/>
              <a:defRPr/>
            </a:lvl2pPr>
            <a:lvl3pPr marL="571454" indent="0">
              <a:buNone/>
              <a:defRPr/>
            </a:lvl3pPr>
            <a:lvl4pPr marL="800036" indent="0">
              <a:buNone/>
              <a:defRPr/>
            </a:lvl4pPr>
            <a:lvl5pPr marL="1028617" indent="0">
              <a:buNone/>
              <a:defRPr/>
            </a:lvl5pPr>
          </a:lstStyle>
          <a:p>
            <a:pPr lvl="0"/>
            <a:r>
              <a:rPr lang="en-US" dirty="0" smtClean="0"/>
              <a:t>Click to edit aster text</a:t>
            </a:r>
            <a:endParaRPr lang="en-US" dirty="0"/>
          </a:p>
        </p:txBody>
      </p:sp>
      <p:sp>
        <p:nvSpPr>
          <p:cNvPr id="6" name="Text Placeholder 3"/>
          <p:cNvSpPr>
            <a:spLocks noGrp="1"/>
          </p:cNvSpPr>
          <p:nvPr>
            <p:ph type="body" sz="quarter" idx="12"/>
          </p:nvPr>
        </p:nvSpPr>
        <p:spPr>
          <a:xfrm>
            <a:off x="274637" y="1820862"/>
            <a:ext cx="6724763" cy="2265236"/>
          </a:xfrm>
        </p:spPr>
        <p:txBody>
          <a:bodyPr/>
          <a:lstStyle>
            <a:lvl1pPr marL="0" indent="0">
              <a:spcBef>
                <a:spcPts val="1200"/>
              </a:spcBef>
              <a:spcAft>
                <a:spcPts val="0"/>
              </a:spcAft>
              <a:buNone/>
              <a:defRPr/>
            </a:lvl1pPr>
            <a:lvl2pPr marL="0" indent="0">
              <a:spcBef>
                <a:spcPts val="0"/>
              </a:spcBef>
              <a:spcAft>
                <a:spcPts val="1200"/>
              </a:spcAft>
              <a:buNone/>
              <a:defRPr sz="2800">
                <a:latin typeface="+mj-lt"/>
              </a:defRPr>
            </a:lvl2pPr>
            <a:lvl3pPr marL="0" indent="0">
              <a:spcBef>
                <a:spcPts val="0"/>
              </a:spcBef>
              <a:spcAft>
                <a:spcPts val="600"/>
              </a:spcAft>
              <a:buNone/>
              <a:defRPr/>
            </a:lvl3pPr>
            <a:lvl4pPr marL="0" indent="0">
              <a:spcBef>
                <a:spcPts val="0"/>
              </a:spcBef>
              <a:spcAft>
                <a:spcPts val="600"/>
              </a:spcAft>
              <a:buNone/>
              <a:defRPr/>
            </a:lvl4pPr>
            <a:lvl5pPr marL="0" indent="0">
              <a:spcBef>
                <a:spcPts val="0"/>
              </a:spcBef>
              <a:spcAft>
                <a:spcPts val="600"/>
              </a:spcAft>
              <a:buNone/>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38504319"/>
      </p:ext>
    </p:extLst>
  </p:cSld>
  <p:clrMapOvr>
    <a:masterClrMapping/>
  </p:clrMapOvr>
  <p:transition>
    <p:fade/>
  </p:transition>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39857900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6052697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8949789"/>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7013067"/>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89549732"/>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34319319"/>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8466799"/>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66757838"/>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76582029"/>
      </p:ext>
    </p:extLst>
  </p:cSld>
  <p:clrMapOvr>
    <a:masterClrMapping/>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6109936"/>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3256404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0334025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848384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0899345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32102870"/>
      </p:ext>
    </p:extLst>
  </p:cSld>
  <p:clrMapOvr>
    <a:masterClrMapping/>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64270144"/>
      </p:ext>
    </p:extLst>
  </p:cSld>
  <p:clrMapOvr>
    <a:masterClrMapping/>
  </p:clrMapOvr>
  <p:transition>
    <p:fade/>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30136283"/>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93457941"/>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420914209"/>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9273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61465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9809795"/>
      </p:ext>
    </p:extLst>
  </p:cSld>
  <p:clrMapOvr>
    <a:masterClrMapping/>
  </p:clrMapOvr>
  <p:transition>
    <p:fade/>
  </p:transition>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204589"/>
      </p:ext>
    </p:extLst>
  </p:cSld>
  <p:clrMapOvr>
    <a:masterClrMapping/>
  </p:clrMapOvr>
  <p:transition>
    <p:fade/>
  </p:transition>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1170194"/>
      </p:ext>
    </p:extLst>
  </p:cSld>
  <p:clrMapOvr>
    <a:masterClrMapping/>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24707533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94058609"/>
      </p:ext>
    </p:extLst>
  </p:cSld>
  <p:clrMapOvr>
    <a:masterClrMapping/>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6980822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Footer Placeholder 1"/>
          <p:cNvSpPr>
            <a:spLocks noGrp="1"/>
          </p:cNvSpPr>
          <p:nvPr>
            <p:ph type="ftr" sz="quarter" idx="10"/>
          </p:nvPr>
        </p:nvSpPr>
        <p:spPr>
          <a:xfrm>
            <a:off x="457200" y="6692392"/>
            <a:ext cx="3937000" cy="137160"/>
          </a:xfrm>
          <a:prstGeom prst="rect">
            <a:avLst/>
          </a:prstGeom>
        </p:spPr>
        <p:txBody>
          <a:bodyPr/>
          <a:lstStyle/>
          <a:p>
            <a:r>
              <a:rPr smtClean="0">
                <a:solidFill>
                  <a:srgbClr val="505050"/>
                </a:solidFill>
              </a:rPr>
              <a:t>Microsoft Confidential</a:t>
            </a:r>
            <a:endParaRPr>
              <a:solidFill>
                <a:srgbClr val="505050"/>
              </a:solidFill>
            </a:endParaRPr>
          </a:p>
        </p:txBody>
      </p:sp>
      <p:sp>
        <p:nvSpPr>
          <p:cNvPr id="3" name="Slide Number Placeholder 2"/>
          <p:cNvSpPr>
            <a:spLocks noGrp="1"/>
          </p:cNvSpPr>
          <p:nvPr>
            <p:ph type="sldNum" sz="quarter" idx="11"/>
          </p:nvPr>
        </p:nvSpPr>
        <p:spPr>
          <a:xfrm>
            <a:off x="11595101" y="6692392"/>
            <a:ext cx="566737" cy="137160"/>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76645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3" name="Rectangle 2"/>
          <p:cNvSpPr/>
          <p:nvPr userDrawn="1"/>
        </p:nvSpPr>
        <p:spPr bwMode="auto">
          <a:xfrm>
            <a:off x="5761039" y="0"/>
            <a:ext cx="6679219" cy="69935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274640" y="295276"/>
            <a:ext cx="5410197" cy="917575"/>
          </a:xfrm>
        </p:spPr>
        <p:txBody>
          <a:bodyPr/>
          <a:lstStyle>
            <a:lvl1pPr>
              <a:defRPr>
                <a:solidFill>
                  <a:schemeClr val="tx1"/>
                </a:solidFill>
              </a:defRPr>
            </a:lvl1pPr>
          </a:lstStyle>
          <a:p>
            <a:r>
              <a:rPr lang="en-US" dirty="0" smtClean="0"/>
              <a:t>Click to edit Master</a:t>
            </a:r>
            <a:endParaRPr lang="en-US" dirty="0"/>
          </a:p>
        </p:txBody>
      </p:sp>
      <p:sp>
        <p:nvSpPr>
          <p:cNvPr id="7" name="Text Placeholder 6"/>
          <p:cNvSpPr>
            <a:spLocks noGrp="1"/>
          </p:cNvSpPr>
          <p:nvPr>
            <p:ph type="body" sz="quarter" idx="10"/>
          </p:nvPr>
        </p:nvSpPr>
        <p:spPr>
          <a:xfrm>
            <a:off x="274639" y="2125662"/>
            <a:ext cx="5333998" cy="2325252"/>
          </a:xfrm>
        </p:spPr>
        <p:txBody>
          <a:bodyPr lIns="91440" rIns="91440" anchor="t"/>
          <a:lstStyle>
            <a:lvl1pPr marL="0" indent="0">
              <a:spcBef>
                <a:spcPts val="1224"/>
              </a:spcBef>
              <a:buNone/>
              <a:defRPr sz="3200" b="1">
                <a:solidFill>
                  <a:schemeClr val="tx1"/>
                </a:solidFill>
              </a:defRPr>
            </a:lvl1pPr>
            <a:lvl2pPr marL="0" indent="0">
              <a:spcBef>
                <a:spcPts val="600"/>
              </a:spcBef>
              <a:spcAft>
                <a:spcPts val="306"/>
              </a:spcAft>
              <a:buNone/>
              <a:defRPr sz="2400" b="0">
                <a:solidFill>
                  <a:schemeClr val="tx1"/>
                </a:solidFill>
              </a:defRPr>
            </a:lvl2pPr>
            <a:lvl3pPr marL="0" indent="0">
              <a:spcBef>
                <a:spcPts val="1200"/>
              </a:spcBef>
              <a:spcAft>
                <a:spcPts val="0"/>
              </a:spcAft>
              <a:buNone/>
              <a:defRPr sz="2400">
                <a:solidFill>
                  <a:schemeClr val="tx1"/>
                </a:solidFill>
              </a:defRPr>
            </a:lvl3pPr>
            <a:lvl4pPr marL="0" indent="0">
              <a:spcBef>
                <a:spcPts val="600"/>
              </a:spcBef>
              <a:buNone/>
              <a:defRPr sz="2000">
                <a:solidFill>
                  <a:schemeClr val="tx1"/>
                </a:solidFill>
              </a:defRPr>
            </a:lvl4pPr>
            <a:lvl5pPr marL="0" indent="0">
              <a:spcBef>
                <a:spcPts val="600"/>
              </a:spcBef>
              <a:buNone/>
              <a:defRPr sz="20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44076159"/>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3" name="Rectangle 2"/>
          <p:cNvSpPr/>
          <p:nvPr userDrawn="1"/>
        </p:nvSpPr>
        <p:spPr bwMode="auto">
          <a:xfrm>
            <a:off x="7132637" y="0"/>
            <a:ext cx="5307621" cy="699353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274640" y="295276"/>
            <a:ext cx="6724102" cy="917575"/>
          </a:xfrm>
        </p:spPr>
        <p:txBody>
          <a:bodyPr/>
          <a:lstStyle>
            <a:lvl1pPr>
              <a:defRPr>
                <a:solidFill>
                  <a:schemeClr val="tx1"/>
                </a:solidFill>
              </a:defRPr>
            </a:lvl1pPr>
          </a:lstStyle>
          <a:p>
            <a:r>
              <a:rPr lang="en-US" dirty="0" smtClean="0"/>
              <a:t>Click to edit Master</a:t>
            </a:r>
            <a:endParaRPr lang="en-US" dirty="0"/>
          </a:p>
        </p:txBody>
      </p:sp>
      <p:sp>
        <p:nvSpPr>
          <p:cNvPr id="7" name="Text Placeholder 6"/>
          <p:cNvSpPr>
            <a:spLocks noGrp="1"/>
          </p:cNvSpPr>
          <p:nvPr>
            <p:ph type="body" sz="quarter" idx="10"/>
          </p:nvPr>
        </p:nvSpPr>
        <p:spPr>
          <a:xfrm>
            <a:off x="274639" y="2125662"/>
            <a:ext cx="6629398" cy="2054409"/>
          </a:xfrm>
        </p:spPr>
        <p:txBody>
          <a:bodyPr lIns="91440" rIns="91440" anchor="t"/>
          <a:lstStyle>
            <a:lvl1pPr marL="0" indent="0">
              <a:spcBef>
                <a:spcPts val="1224"/>
              </a:spcBef>
              <a:spcAft>
                <a:spcPts val="300"/>
              </a:spcAft>
              <a:buNone/>
              <a:defRPr sz="3600" b="0">
                <a:solidFill>
                  <a:schemeClr val="tx1"/>
                </a:solidFill>
              </a:defRPr>
            </a:lvl1pPr>
            <a:lvl2pPr marL="0" indent="0">
              <a:spcBef>
                <a:spcPts val="600"/>
              </a:spcBef>
              <a:spcAft>
                <a:spcPts val="600"/>
              </a:spcAft>
              <a:buNone/>
              <a:defRPr sz="2400" b="0">
                <a:solidFill>
                  <a:schemeClr val="tx1"/>
                </a:solidFill>
                <a:latin typeface="+mj-lt"/>
              </a:defRPr>
            </a:lvl2pPr>
            <a:lvl3pPr marL="0" indent="0">
              <a:spcBef>
                <a:spcPts val="0"/>
              </a:spcBef>
              <a:spcAft>
                <a:spcPts val="600"/>
              </a:spcAft>
              <a:buNone/>
              <a:defRPr sz="1800">
                <a:solidFill>
                  <a:schemeClr val="tx1"/>
                </a:solidFill>
              </a:defRPr>
            </a:lvl3pPr>
            <a:lvl4pPr marL="0" indent="0">
              <a:spcBef>
                <a:spcPts val="0"/>
              </a:spcBef>
              <a:spcAft>
                <a:spcPts val="600"/>
              </a:spcAft>
              <a:buNone/>
              <a:defRPr sz="1600">
                <a:solidFill>
                  <a:schemeClr val="tx1"/>
                </a:solidFill>
              </a:defRPr>
            </a:lvl4pPr>
            <a:lvl5pPr marL="0" indent="0">
              <a:spcBef>
                <a:spcPts val="0"/>
              </a:spcBef>
              <a:spcAft>
                <a:spcPts val="600"/>
              </a:spcAft>
              <a:buNone/>
              <a:defRPr sz="16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11727182"/>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8">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7162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4235261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428468"/>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sp>
        <p:nvSpPr>
          <p:cNvPr id="12" name="Rectangle 11"/>
          <p:cNvSpPr/>
          <p:nvPr userDrawn="1"/>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74640" y="1456837"/>
            <a:ext cx="5597112" cy="915537"/>
          </a:xfrm>
        </p:spPr>
        <p:txBody>
          <a:bodyPr/>
          <a:lstStyle>
            <a:lvl1pPr>
              <a:defRPr sz="5199">
                <a:solidFill>
                  <a:schemeClr val="bg1"/>
                </a:solidFill>
              </a:defRPr>
            </a:lvl1pPr>
          </a:lstStyle>
          <a:p>
            <a:r>
              <a:rPr lang="en-US" smtClean="0"/>
              <a:t>Click to edit Master title sty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1905424382"/>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1" y="0"/>
            <a:ext cx="12466637" cy="6994525"/>
          </a:xfrm>
          <a:prstGeom prst="rect">
            <a:avLst/>
          </a:prstGeom>
        </p:spPr>
      </p:pic>
    </p:spTree>
    <p:extLst>
      <p:ext uri="{BB962C8B-B14F-4D97-AF65-F5344CB8AC3E}">
        <p14:creationId xmlns:p14="http://schemas.microsoft.com/office/powerpoint/2010/main" val="1968912617"/>
      </p:ext>
    </p:extLst>
  </p:cSld>
  <p:clrMapOvr>
    <a:masterClrMapping/>
  </p:clrMapOvr>
  <p:transition spd="med">
    <p:wipe dir="r"/>
  </p:transition>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9825"/>
            <a:ext cx="11033125" cy="574675"/>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smtClean="0"/>
              <a:t>Click to edit Master text styles</a:t>
            </a:r>
            <a:endParaRPr lang="en-US"/>
          </a:p>
        </p:txBody>
      </p:sp>
      <p:sp>
        <p:nvSpPr>
          <p:cNvPr id="4" name="Footer Placeholder 2"/>
          <p:cNvSpPr>
            <a:spLocks noGrp="1"/>
          </p:cNvSpPr>
          <p:nvPr>
            <p:ph type="ftr" sz="quarter" idx="14"/>
          </p:nvPr>
        </p:nvSpPr>
        <p:spPr>
          <a:xfrm>
            <a:off x="457200" y="6565901"/>
            <a:ext cx="3937000" cy="136525"/>
          </a:xfrm>
          <a:prstGeom prst="rect">
            <a:avLst/>
          </a:prstGeom>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a:xfrm>
            <a:off x="11595101" y="6565901"/>
            <a:ext cx="566738" cy="136525"/>
          </a:xfrm>
          <a:prstGeom prst="rect">
            <a:avLst/>
          </a:prstGeom>
        </p:spPr>
        <p:txBody>
          <a:bodyPr/>
          <a:lstStyle>
            <a:lvl1pPr defTabSz="931684"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
        <p:nvSpPr>
          <p:cNvPr id="2" name="Title 1"/>
          <p:cNvSpPr>
            <a:spLocks noGrp="1"/>
          </p:cNvSpPr>
          <p:nvPr>
            <p:ph type="title"/>
          </p:nvPr>
        </p:nvSpPr>
        <p:spPr/>
        <p:txBody>
          <a:bodyPr/>
          <a:lstStyle/>
          <a:p>
            <a:r>
              <a:rPr lang="en-US" smtClean="0"/>
              <a:t>Click to edit Master title style</a:t>
            </a:r>
            <a:endParaRPr lang="en-IN"/>
          </a:p>
        </p:txBody>
      </p:sp>
    </p:spTree>
    <p:extLst>
      <p:ext uri="{BB962C8B-B14F-4D97-AF65-F5344CB8AC3E}">
        <p14:creationId xmlns:p14="http://schemas.microsoft.com/office/powerpoint/2010/main" val="523318140"/>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rPr/>
              <a:t>Microsoft Confidential</a:t>
            </a:r>
          </a:p>
        </p:txBody>
      </p:sp>
      <p:sp>
        <p:nvSpPr>
          <p:cNvPr id="3" name="Slide Number Placeholder 2"/>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1071171812"/>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3116825"/>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5275"/>
            <a:ext cx="5379817" cy="917575"/>
          </a:xfrm>
        </p:spPr>
        <p:txBody>
          <a:bodyPr/>
          <a:lstStyle/>
          <a:p>
            <a:r>
              <a:rPr lang="en-US" dirty="0" smtClean="0"/>
              <a:t>Click to edit style</a:t>
            </a:r>
            <a:endParaRPr lang="en-US" dirty="0"/>
          </a:p>
        </p:txBody>
      </p:sp>
      <p:sp>
        <p:nvSpPr>
          <p:cNvPr id="4" name="Text Placeholder 3"/>
          <p:cNvSpPr>
            <a:spLocks noGrp="1"/>
          </p:cNvSpPr>
          <p:nvPr>
            <p:ph type="body" sz="quarter" idx="10"/>
          </p:nvPr>
        </p:nvSpPr>
        <p:spPr>
          <a:xfrm>
            <a:off x="274638" y="2037423"/>
            <a:ext cx="5303526" cy="2305246"/>
          </a:xfrm>
        </p:spPr>
        <p:txBody>
          <a:bodyPr/>
          <a:lstStyle>
            <a:lvl1pPr marL="0" indent="0">
              <a:buNone/>
              <a:defRPr/>
            </a:lvl1pPr>
            <a:lvl2pPr marL="0" indent="0">
              <a:buNone/>
              <a:defRPr sz="3200"/>
            </a:lvl2pPr>
            <a:lvl3pPr marL="0" indent="0">
              <a:buNone/>
              <a:defRPr/>
            </a:lvl3pPr>
            <a:lvl4pPr marL="0" indent="0">
              <a:buNone/>
              <a:defRPr/>
            </a:lvl4pPr>
            <a:lvl5pPr marL="0" indent="0">
              <a:buNone/>
              <a:defRPr/>
            </a:lvl5pPr>
          </a:lstStyle>
          <a:p>
            <a:pPr lvl="0"/>
            <a:r>
              <a:rPr lang="en-US" dirty="0" smtClean="0"/>
              <a:t>Click to edit Mas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userDrawn="1"/>
        </p:nvSpPr>
        <p:spPr bwMode="auto">
          <a:xfrm>
            <a:off x="5761037" y="0"/>
            <a:ext cx="6675437"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 name="Text Placeholder 6"/>
          <p:cNvSpPr>
            <a:spLocks noGrp="1"/>
          </p:cNvSpPr>
          <p:nvPr>
            <p:ph type="body" sz="quarter" idx="11"/>
          </p:nvPr>
        </p:nvSpPr>
        <p:spPr>
          <a:xfrm>
            <a:off x="274638" y="1119848"/>
            <a:ext cx="5379817" cy="572464"/>
          </a:xfrm>
        </p:spPr>
        <p:txBody>
          <a:bodyPr/>
          <a:lstStyle>
            <a:lvl1pPr marL="0" indent="0">
              <a:buNone/>
              <a:defRPr sz="2800">
                <a:solidFill>
                  <a:schemeClr val="tx2"/>
                </a:solidFill>
              </a:defRPr>
            </a:lvl1pPr>
            <a:lvl2pPr marL="342873" indent="0">
              <a:buNone/>
              <a:defRPr/>
            </a:lvl2pPr>
            <a:lvl3pPr marL="571454" indent="0">
              <a:buNone/>
              <a:defRPr/>
            </a:lvl3pPr>
            <a:lvl4pPr marL="800036" indent="0">
              <a:buNone/>
              <a:defRPr/>
            </a:lvl4pPr>
            <a:lvl5pPr marL="1028617" indent="0">
              <a:buNone/>
              <a:defRPr/>
            </a:lvl5pPr>
          </a:lstStyle>
          <a:p>
            <a:pPr lvl="0"/>
            <a:r>
              <a:rPr lang="en-US" dirty="0" smtClean="0"/>
              <a:t>Click to edit Master text</a:t>
            </a:r>
            <a:endParaRPr lang="en-US" dirty="0"/>
          </a:p>
        </p:txBody>
      </p:sp>
    </p:spTree>
    <p:extLst>
      <p:ext uri="{BB962C8B-B14F-4D97-AF65-F5344CB8AC3E}">
        <p14:creationId xmlns:p14="http://schemas.microsoft.com/office/powerpoint/2010/main" val="3891067605"/>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DataInsights_quadton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 y="0"/>
            <a:ext cx="12436475" cy="6995517"/>
          </a:xfrm>
          <a:prstGeom prst="rect">
            <a:avLst/>
          </a:prstGeom>
        </p:spPr>
      </p:pic>
      <p:pic>
        <p:nvPicPr>
          <p:cNvPr id="14" name="Picture 13" descr="DataInsights-iStock_000022453217Large.jpg"/>
          <p:cNvPicPr>
            <a:picLocks noChangeAspect="1"/>
          </p:cNvPicPr>
          <p:nvPr/>
        </p:nvPicPr>
        <p:blipFill rotWithShape="1">
          <a:blip r:embed="rId3">
            <a:alphaModFix/>
            <a:extLst>
              <a:ext uri="{28A0092B-C50C-407E-A947-70E740481C1C}">
                <a14:useLocalDpi xmlns:a14="http://schemas.microsoft.com/office/drawing/2010/main" val="0"/>
              </a:ext>
            </a:extLst>
          </a:blip>
          <a:srcRect/>
          <a:stretch/>
        </p:blipFill>
        <p:spPr>
          <a:xfrm>
            <a:off x="8158824" y="2348029"/>
            <a:ext cx="2812534" cy="2806484"/>
          </a:xfrm>
          <a:prstGeom prst="rect">
            <a:avLst/>
          </a:prstGeom>
        </p:spPr>
      </p:pic>
      <p:pic>
        <p:nvPicPr>
          <p:cNvPr id="11" name="Picture 9"/>
          <p:cNvPicPr>
            <a:picLocks noChangeAspect="1"/>
          </p:cNvPicPr>
          <p:nvPr/>
        </p:nvPicPr>
        <p:blipFill>
          <a:blip r:embed="rId4" cstate="email">
            <a:extLst>
              <a:ext uri="{28A0092B-C50C-407E-A947-70E740481C1C}">
                <a14:useLocalDpi xmlns:a14="http://schemas.microsoft.com/office/drawing/2010/main" val="0"/>
              </a:ext>
            </a:extLst>
          </a:blip>
          <a:srcRect l="19656" r="20331"/>
          <a:stretch>
            <a:fillRect/>
          </a:stretch>
        </p:blipFill>
        <p:spPr bwMode="auto">
          <a:xfrm>
            <a:off x="6705602" y="241300"/>
            <a:ext cx="5573712"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bwMode="auto">
          <a:xfrm>
            <a:off x="1" y="1"/>
            <a:ext cx="6175127" cy="7006405"/>
          </a:xfrm>
          <a:prstGeom prst="rect">
            <a:avLst/>
          </a:prstGeom>
          <a:gradFill flip="none" rotWithShape="1">
            <a:gsLst>
              <a:gs pos="100000">
                <a:srgbClr val="003963">
                  <a:alpha val="0"/>
                </a:srgbClr>
              </a:gs>
              <a:gs pos="0">
                <a:srgbClr val="03122F"/>
              </a:gs>
              <a:gs pos="50000">
                <a:srgbClr val="072450">
                  <a:alpha val="9000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28" rIns="0" bIns="46628" anchor="ctr"/>
          <a:lstStyle/>
          <a:p>
            <a:pPr algn="ctr" defTabSz="932293">
              <a:defRPr/>
            </a:pPr>
            <a:endParaRPr lang="en-US" sz="2040" dirty="0">
              <a:gradFill>
                <a:gsLst>
                  <a:gs pos="0">
                    <a:srgbClr val="FFFFFF"/>
                  </a:gs>
                  <a:gs pos="100000">
                    <a:srgbClr val="FFFFFF"/>
                  </a:gs>
                </a:gsLst>
                <a:lin ang="5400000" scaled="0"/>
              </a:gradFill>
            </a:endParaRPr>
          </a:p>
        </p:txBody>
      </p:sp>
      <p:sp>
        <p:nvSpPr>
          <p:cNvPr id="16" name="Title 1"/>
          <p:cNvSpPr>
            <a:spLocks noGrp="1"/>
          </p:cNvSpPr>
          <p:nvPr>
            <p:ph type="ctrTitle"/>
          </p:nvPr>
        </p:nvSpPr>
        <p:spPr>
          <a:xfrm>
            <a:off x="274640" y="1456837"/>
            <a:ext cx="5597112" cy="915537"/>
          </a:xfrm>
        </p:spPr>
        <p:txBody>
          <a:bodyPr/>
          <a:lstStyle>
            <a:lvl1pPr>
              <a:defRPr sz="5201">
                <a:solidFill>
                  <a:schemeClr val="bg1"/>
                </a:solidFill>
              </a:defRPr>
            </a:lvl1pPr>
          </a:lstStyle>
          <a:p>
            <a:r>
              <a:rPr lang="en-US" smtClean="0"/>
              <a:t>Click to edit Master title style</a:t>
            </a:r>
            <a:endParaRPr lang="en-US" dirty="0"/>
          </a:p>
        </p:txBody>
      </p:sp>
      <p:sp>
        <p:nvSpPr>
          <p:cNvPr id="17" name="Subtitle 2"/>
          <p:cNvSpPr>
            <a:spLocks noGrp="1"/>
          </p:cNvSpPr>
          <p:nvPr>
            <p:ph type="subTitle" idx="1"/>
          </p:nvPr>
        </p:nvSpPr>
        <p:spPr>
          <a:xfrm>
            <a:off x="274702" y="4440119"/>
            <a:ext cx="5597048" cy="1076679"/>
          </a:xfrm>
        </p:spPr>
        <p:txBody>
          <a:bodyPr/>
          <a:lstStyle>
            <a:lvl1pPr marL="0" indent="0" algn="l">
              <a:lnSpc>
                <a:spcPts val="2700"/>
              </a:lnSpc>
              <a:buNone/>
              <a:defRPr sz="2244">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Click to edit Master subtitle style</a:t>
            </a:r>
            <a:endParaRPr lang="en-US" dirty="0" smtClean="0"/>
          </a:p>
        </p:txBody>
      </p:sp>
      <p:pic>
        <p:nvPicPr>
          <p:cNvPr id="13" name="Pictur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1151" y="329702"/>
            <a:ext cx="1608148" cy="591547"/>
          </a:xfrm>
          <a:prstGeom prst="rect">
            <a:avLst/>
          </a:prstGeom>
        </p:spPr>
      </p:pic>
    </p:spTree>
    <p:extLst>
      <p:ext uri="{BB962C8B-B14F-4D97-AF65-F5344CB8AC3E}">
        <p14:creationId xmlns:p14="http://schemas.microsoft.com/office/powerpoint/2010/main" val="1005183561"/>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5_BLANK">
    <p:spTree>
      <p:nvGrpSpPr>
        <p:cNvPr id="1" name=""/>
        <p:cNvGrpSpPr/>
        <p:nvPr/>
      </p:nvGrpSpPr>
      <p:grpSpPr>
        <a:xfrm>
          <a:off x="0" y="0"/>
          <a:ext cx="0" cy="0"/>
          <a:chOff x="0" y="0"/>
          <a:chExt cx="0" cy="0"/>
        </a:xfrm>
      </p:grpSpPr>
      <p:pic>
        <p:nvPicPr>
          <p:cNvPr id="3" name="Picture 2" descr="DataInsights-iStock_000022453217Large.jpg"/>
          <p:cNvPicPr>
            <a:picLocks noChangeAspect="1"/>
          </p:cNvPicPr>
          <p:nvPr/>
        </p:nvPicPr>
        <p:blipFill rotWithShape="1">
          <a:blip r:embed="rId2">
            <a:alphaModFix/>
            <a:extLst>
              <a:ext uri="{28A0092B-C50C-407E-A947-70E740481C1C}">
                <a14:useLocalDpi xmlns:a14="http://schemas.microsoft.com/office/drawing/2010/main" val="0"/>
              </a:ext>
            </a:extLst>
          </a:blip>
          <a:srcRect/>
          <a:stretch/>
        </p:blipFill>
        <p:spPr>
          <a:xfrm>
            <a:off x="2" y="0"/>
            <a:ext cx="12436474" cy="6994525"/>
          </a:xfrm>
          <a:prstGeom prst="rect">
            <a:avLst/>
          </a:prstGeom>
        </p:spPr>
      </p:pic>
    </p:spTree>
    <p:extLst>
      <p:ext uri="{BB962C8B-B14F-4D97-AF65-F5344CB8AC3E}">
        <p14:creationId xmlns:p14="http://schemas.microsoft.com/office/powerpoint/2010/main" val="3278063559"/>
      </p:ext>
    </p:extLst>
  </p:cSld>
  <p:clrMapOvr>
    <a:masterClrMapping/>
  </p:clrMapOvr>
  <p:transition spd="med">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320" y="292082"/>
            <a:ext cx="11887200" cy="946413"/>
          </a:xfrm>
          <a:prstGeom prst="rect">
            <a:avLst/>
          </a:prstGeom>
        </p:spPr>
        <p:txBody>
          <a:bodyPr/>
          <a:lstStyle>
            <a:lvl1pPr algn="l">
              <a:defRPr sz="5201">
                <a:solidFill>
                  <a:schemeClr val="tx2"/>
                </a:solidFill>
              </a:defRPr>
            </a:lvl1pPr>
          </a:lstStyle>
          <a:p>
            <a:r>
              <a:rPr lang="en-US" smtClean="0"/>
              <a:t>Click to edit Master title style</a:t>
            </a:r>
            <a:endParaRPr lang="en-US" dirty="0"/>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endParaRPr/>
          </a:p>
        </p:txBody>
      </p:sp>
      <p:sp>
        <p:nvSpPr>
          <p:cNvPr id="4" name="Slide Number Placeholder 3"/>
          <p:cNvSpPr>
            <a:spLocks noGrp="1"/>
          </p:cNvSpPr>
          <p:nvPr>
            <p:ph type="sldNum" sz="quarter" idx="11"/>
          </p:nvPr>
        </p:nvSpPr>
        <p:spPr/>
        <p:txBody>
          <a:bodyPr/>
          <a:lstStyle>
            <a:lvl1pPr defTabSz="931684" fontAlgn="base">
              <a:spcBef>
                <a:spcPct val="0"/>
              </a:spcBef>
              <a:spcAft>
                <a:spcPct val="0"/>
              </a:spcAft>
              <a:defRPr>
                <a:solidFill>
                  <a:srgbClr val="002050"/>
                </a:solidFill>
              </a:defRPr>
            </a:lvl1pPr>
          </a:lstStyle>
          <a:p>
            <a:fld id="{32FBFAE1-4542-4046-A9C2-27E9CAFA82CD}" type="slidenum">
              <a:rPr smtClean="0"/>
              <a:pPr/>
              <a:t>‹#›</a:t>
            </a:fld>
            <a:endParaRPr/>
          </a:p>
        </p:txBody>
      </p:sp>
    </p:spTree>
    <p:extLst>
      <p:ext uri="{BB962C8B-B14F-4D97-AF65-F5344CB8AC3E}">
        <p14:creationId xmlns:p14="http://schemas.microsoft.com/office/powerpoint/2010/main" val="2689426318"/>
      </p:ext>
    </p:extLst>
  </p:cSld>
  <p:clrMapOvr>
    <a:masterClrMapping/>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39" y="1139825"/>
            <a:ext cx="11033125" cy="574675"/>
          </a:xfrm>
          <a:prstGeom prst="rect">
            <a:avLst/>
          </a:prstGeom>
        </p:spPr>
        <p:txBody>
          <a:bodyPr lIns="188241"/>
          <a:lstStyle>
            <a:lvl1pPr marL="0" indent="0">
              <a:buNone/>
              <a:defRPr lang="en-US" sz="2754" kern="1200" smtClean="0">
                <a:solidFill>
                  <a:schemeClr val="tx2"/>
                </a:solidFill>
                <a:latin typeface="+mj-lt"/>
                <a:ea typeface="+mn-ea"/>
                <a:cs typeface="+mn-cs"/>
              </a:defRPr>
            </a:lvl1pPr>
            <a:lvl2pPr marL="0" indent="0">
              <a:buNone/>
              <a:defRPr lang="en-US" sz="3162" kern="1200" smtClean="0">
                <a:solidFill>
                  <a:schemeClr val="bg1"/>
                </a:solidFill>
                <a:latin typeface="+mj-lt"/>
                <a:ea typeface="+mn-ea"/>
                <a:cs typeface="+mn-cs"/>
              </a:defRPr>
            </a:lvl2pPr>
            <a:lvl3pPr marL="0" indent="0">
              <a:buNone/>
              <a:defRPr lang="en-US" sz="3162" kern="1200" smtClean="0">
                <a:solidFill>
                  <a:schemeClr val="bg1"/>
                </a:solidFill>
                <a:latin typeface="+mj-lt"/>
                <a:ea typeface="+mn-ea"/>
                <a:cs typeface="+mn-cs"/>
              </a:defRPr>
            </a:lvl3pPr>
            <a:lvl4pPr marL="0" indent="0">
              <a:buNone/>
              <a:defRPr lang="en-US" sz="3162" kern="1200" smtClean="0">
                <a:solidFill>
                  <a:schemeClr val="bg1"/>
                </a:solidFill>
                <a:latin typeface="+mj-lt"/>
                <a:ea typeface="+mn-ea"/>
                <a:cs typeface="+mn-cs"/>
              </a:defRPr>
            </a:lvl4pPr>
            <a:lvl5pPr marL="0" indent="0">
              <a:buNone/>
              <a:defRPr lang="en-US" sz="3162" kern="1200">
                <a:solidFill>
                  <a:schemeClr val="bg1"/>
                </a:solidFill>
                <a:latin typeface="+mj-lt"/>
                <a:ea typeface="+mn-ea"/>
                <a:cs typeface="+mn-cs"/>
              </a:defRPr>
            </a:lvl5pPr>
          </a:lstStyle>
          <a:p>
            <a:pPr lvl="0"/>
            <a:r>
              <a:rPr lang="en-US" smtClean="0"/>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201">
                <a:solidFill>
                  <a:schemeClr val="tx2"/>
                </a:solidFill>
              </a:defRPr>
            </a:lvl1pPr>
          </a:lstStyle>
          <a:p>
            <a:r>
              <a:rPr lang="en-US"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endParaRPr/>
          </a:p>
        </p:txBody>
      </p:sp>
      <p:sp>
        <p:nvSpPr>
          <p:cNvPr id="5" name="Slide Number Placeholder 3"/>
          <p:cNvSpPr>
            <a:spLocks noGrp="1"/>
          </p:cNvSpPr>
          <p:nvPr>
            <p:ph type="sldNum" sz="quarter" idx="15"/>
          </p:nvPr>
        </p:nvSpPr>
        <p:spPr/>
        <p:txBody>
          <a:bodyPr/>
          <a:lstStyle>
            <a:lvl1pPr defTabSz="931684" fontAlgn="base">
              <a:spcBef>
                <a:spcPct val="0"/>
              </a:spcBef>
              <a:spcAft>
                <a:spcPct val="0"/>
              </a:spcAft>
              <a:defRPr smtClean="0">
                <a:solidFill>
                  <a:srgbClr val="505050"/>
                </a:solidFill>
              </a:defRPr>
            </a:lvl1pPr>
          </a:lstStyle>
          <a:p>
            <a:fld id="{32FBFAE1-4542-4046-A9C2-27E9CAFA82CD}" type="slidenum">
              <a:rPr/>
              <a:pPr/>
              <a:t>‹#›</a:t>
            </a:fld>
            <a:endParaRPr/>
          </a:p>
        </p:txBody>
      </p:sp>
    </p:spTree>
    <p:extLst>
      <p:ext uri="{BB962C8B-B14F-4D97-AF65-F5344CB8AC3E}">
        <p14:creationId xmlns:p14="http://schemas.microsoft.com/office/powerpoint/2010/main" val="2647796308"/>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endParaRPr/>
          </a:p>
        </p:txBody>
      </p:sp>
      <p:sp>
        <p:nvSpPr>
          <p:cNvPr id="3" name="Slide Number Placeholder 2"/>
          <p:cNvSpPr>
            <a:spLocks noGrp="1"/>
          </p:cNvSpPr>
          <p:nvPr>
            <p:ph type="sldNum" sz="quarter" idx="11"/>
          </p:nvPr>
        </p:nvSpPr>
        <p:spPr/>
        <p:txBody>
          <a:bodyPr/>
          <a:lstStyle>
            <a:lvl1pPr defTabSz="931684" fontAlgn="base">
              <a:spcBef>
                <a:spcPct val="0"/>
              </a:spcBef>
              <a:spcAft>
                <a:spcPct val="0"/>
              </a:spcAft>
              <a:defRPr smtClean="0">
                <a:solidFill>
                  <a:srgbClr val="000000"/>
                </a:solidFill>
              </a:defRPr>
            </a:lvl1pPr>
          </a:lstStyle>
          <a:p>
            <a:fld id="{32FBFAE1-4542-4046-A9C2-27E9CAFA82CD}" type="slidenum">
              <a:rPr/>
              <a:pPr/>
              <a:t>‹#›</a:t>
            </a:fld>
            <a:endParaRPr/>
          </a:p>
        </p:txBody>
      </p:sp>
    </p:spTree>
    <p:extLst>
      <p:ext uri="{BB962C8B-B14F-4D97-AF65-F5344CB8AC3E}">
        <p14:creationId xmlns:p14="http://schemas.microsoft.com/office/powerpoint/2010/main" val="1390929457"/>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Blank Accent Color 1">
    <p:bg>
      <p:bgPr>
        <a:solidFill>
          <a:srgbClr val="DA3C1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3665575"/>
      </p:ext>
    </p:extLst>
  </p:cSld>
  <p:clrMapOvr>
    <a:masterClrMapping/>
  </p:clrMapOvr>
  <p:transition>
    <p:fade/>
  </p:transition>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7_Title Slide Soli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493" y="-318"/>
            <a:ext cx="12443460" cy="6995160"/>
          </a:xfrm>
          <a:prstGeom prst="rect">
            <a:avLst/>
          </a:prstGeom>
        </p:spPr>
      </p:pic>
      <p:pic>
        <p:nvPicPr>
          <p:cNvPr id="6"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5464" y="534988"/>
            <a:ext cx="125412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a:off x="11274138" y="-1707617"/>
            <a:ext cx="914400" cy="914400"/>
          </a:xfrm>
          <a:prstGeom prst="rect">
            <a:avLst/>
          </a:prstGeom>
          <a:noFill/>
        </p:spPr>
        <p:txBody>
          <a:bodyPr wrap="none" lIns="182846" tIns="146277" rIns="182846" bIns="146277" rtlCol="0">
            <a:noAutofit/>
          </a:bodyPr>
          <a:lstStyle/>
          <a:p>
            <a:pPr defTabSz="932597">
              <a:lnSpc>
                <a:spcPct val="90000"/>
              </a:lnSpc>
              <a:spcAft>
                <a:spcPts val="600"/>
              </a:spcAft>
            </a:pPr>
            <a:endParaRPr lang="en-US" sz="1836" dirty="0" smtClean="0">
              <a:gradFill>
                <a:gsLst>
                  <a:gs pos="2917">
                    <a:srgbClr val="505050"/>
                  </a:gs>
                  <a:gs pos="30000">
                    <a:srgbClr val="505050"/>
                  </a:gs>
                </a:gsLst>
                <a:lin ang="5400000" scaled="0"/>
              </a:gradFill>
              <a:ea typeface="ＭＳ Ｐゴシック" charset="0"/>
            </a:endParaRPr>
          </a:p>
        </p:txBody>
      </p:sp>
      <p:sp>
        <p:nvSpPr>
          <p:cNvPr id="14" name="Title 1"/>
          <p:cNvSpPr>
            <a:spLocks noGrp="1"/>
          </p:cNvSpPr>
          <p:nvPr>
            <p:ph type="ctrTitle"/>
          </p:nvPr>
        </p:nvSpPr>
        <p:spPr>
          <a:xfrm>
            <a:off x="383492" y="1441151"/>
            <a:ext cx="6295120" cy="2538441"/>
          </a:xfrm>
        </p:spPr>
        <p:txBody>
          <a:bodyPr/>
          <a:lstStyle>
            <a:lvl1pPr>
              <a:defRPr sz="6017" baseline="0">
                <a:solidFill>
                  <a:schemeClr val="bg1"/>
                </a:solidFill>
              </a:defRPr>
            </a:lvl1pPr>
          </a:lstStyle>
          <a:p>
            <a:r>
              <a:rPr lang="en-US" smtClean="0"/>
              <a:t>Click to edit Master title style</a:t>
            </a:r>
            <a:endParaRPr lang="en-US" dirty="0"/>
          </a:p>
        </p:txBody>
      </p:sp>
      <p:sp>
        <p:nvSpPr>
          <p:cNvPr id="16" name="Subtitle 2"/>
          <p:cNvSpPr>
            <a:spLocks noGrp="1"/>
          </p:cNvSpPr>
          <p:nvPr>
            <p:ph type="subTitle" idx="1"/>
          </p:nvPr>
        </p:nvSpPr>
        <p:spPr>
          <a:xfrm>
            <a:off x="383493" y="5402262"/>
            <a:ext cx="5834745" cy="619152"/>
          </a:xfrm>
        </p:spPr>
        <p:txBody>
          <a:bodyPr anchor="ctr"/>
          <a:lstStyle>
            <a:lvl1pPr marL="0" indent="0" algn="l">
              <a:lnSpc>
                <a:spcPct val="100000"/>
              </a:lnSpc>
              <a:spcBef>
                <a:spcPts val="0"/>
              </a:spcBef>
              <a:buNone/>
              <a:defRPr sz="1632">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1911229924"/>
      </p:ext>
    </p:extLst>
  </p:cSld>
  <p:clrMapOvr>
    <a:masterClrMapping/>
  </p:clrMapOvr>
  <p:transition>
    <p:fad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9_Title Slide Soli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18" y="-4128"/>
            <a:ext cx="12435840" cy="7002780"/>
          </a:xfrm>
          <a:prstGeom prst="rect">
            <a:avLst/>
          </a:prstGeom>
        </p:spPr>
      </p:pic>
      <p:sp>
        <p:nvSpPr>
          <p:cNvPr id="16" name="Rectangle 15"/>
          <p:cNvSpPr/>
          <p:nvPr/>
        </p:nvSpPr>
        <p:spPr bwMode="auto">
          <a:xfrm>
            <a:off x="274638" y="296863"/>
            <a:ext cx="6403974" cy="6403975"/>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46" tIns="146277" rIns="182846" bIns="146277" numCol="1" spcCol="0" rtlCol="0" fromWordArt="0" anchor="t" anchorCtr="0" forceAA="0" compatLnSpc="1">
            <a:prstTxWarp prst="textNoShape">
              <a:avLst/>
            </a:prstTxWarp>
            <a:noAutofit/>
          </a:bodyPr>
          <a:lstStyle/>
          <a:p>
            <a:pPr algn="ctr" defTabSz="932293">
              <a:lnSpc>
                <a:spcPct val="90000"/>
              </a:lnSpc>
            </a:pPr>
            <a:endParaRPr lang="en-US" sz="1836"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Title 1"/>
          <p:cNvSpPr>
            <a:spLocks noGrp="1"/>
          </p:cNvSpPr>
          <p:nvPr>
            <p:ph type="ctrTitle"/>
          </p:nvPr>
        </p:nvSpPr>
        <p:spPr>
          <a:xfrm>
            <a:off x="383492" y="1441151"/>
            <a:ext cx="6295120" cy="2538441"/>
          </a:xfrm>
        </p:spPr>
        <p:txBody>
          <a:bodyPr/>
          <a:lstStyle>
            <a:lvl1pPr>
              <a:defRPr sz="6017" baseline="0">
                <a:solidFill>
                  <a:schemeClr val="bg1"/>
                </a:solidFill>
              </a:defRPr>
            </a:lvl1pPr>
          </a:lstStyle>
          <a:p>
            <a:r>
              <a:rPr lang="en-US" smtClean="0"/>
              <a:t>Click to edit Master title style</a:t>
            </a:r>
            <a:endParaRPr lang="en-US" dirty="0"/>
          </a:p>
        </p:txBody>
      </p:sp>
      <p:sp>
        <p:nvSpPr>
          <p:cNvPr id="19" name="Subtitle 2"/>
          <p:cNvSpPr>
            <a:spLocks noGrp="1"/>
          </p:cNvSpPr>
          <p:nvPr>
            <p:ph type="subTitle" idx="1"/>
          </p:nvPr>
        </p:nvSpPr>
        <p:spPr>
          <a:xfrm>
            <a:off x="383493" y="5402262"/>
            <a:ext cx="5834745" cy="619152"/>
          </a:xfrm>
        </p:spPr>
        <p:txBody>
          <a:bodyPr anchor="ctr"/>
          <a:lstStyle>
            <a:lvl1pPr marL="0" indent="0" algn="l">
              <a:lnSpc>
                <a:spcPct val="100000"/>
              </a:lnSpc>
              <a:spcBef>
                <a:spcPts val="0"/>
              </a:spcBef>
              <a:buNone/>
              <a:defRPr sz="1632">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smtClean="0"/>
              <a:t>Click to edit Master subtitle style</a:t>
            </a:r>
            <a:endParaRPr lang="en-US" dirty="0" smtClean="0"/>
          </a:p>
        </p:txBody>
      </p:sp>
      <p:pic>
        <p:nvPicPr>
          <p:cNvPr id="6"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5464" y="534988"/>
            <a:ext cx="125412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p:nvPr/>
        </p:nvSpPr>
        <p:spPr>
          <a:xfrm>
            <a:off x="10117093" y="-1044328"/>
            <a:ext cx="914400" cy="914400"/>
          </a:xfrm>
          <a:prstGeom prst="rect">
            <a:avLst/>
          </a:prstGeom>
          <a:noFill/>
        </p:spPr>
        <p:txBody>
          <a:bodyPr wrap="none" lIns="182846" tIns="146277" rIns="182846" bIns="146277" rtlCol="0">
            <a:noAutofit/>
          </a:bodyPr>
          <a:lstStyle/>
          <a:p>
            <a:pPr defTabSz="932597">
              <a:lnSpc>
                <a:spcPct val="90000"/>
              </a:lnSpc>
              <a:spcAft>
                <a:spcPts val="600"/>
              </a:spcAft>
            </a:pPr>
            <a:endParaRPr lang="en-US" sz="1836" dirty="0" smtClean="0">
              <a:gradFill>
                <a:gsLst>
                  <a:gs pos="2917">
                    <a:srgbClr val="505050"/>
                  </a:gs>
                  <a:gs pos="30000">
                    <a:srgbClr val="505050"/>
                  </a:gs>
                </a:gsLst>
                <a:lin ang="5400000" scaled="0"/>
              </a:gradFill>
              <a:ea typeface="ＭＳ Ｐゴシック" charset="0"/>
            </a:endParaRPr>
          </a:p>
        </p:txBody>
      </p:sp>
      <p:sp>
        <p:nvSpPr>
          <p:cNvPr id="13" name="TextBox 12"/>
          <p:cNvSpPr txBox="1"/>
          <p:nvPr/>
        </p:nvSpPr>
        <p:spPr>
          <a:xfrm>
            <a:off x="11274138" y="-1707617"/>
            <a:ext cx="914400" cy="914400"/>
          </a:xfrm>
          <a:prstGeom prst="rect">
            <a:avLst/>
          </a:prstGeom>
          <a:noFill/>
        </p:spPr>
        <p:txBody>
          <a:bodyPr wrap="none" lIns="182846" tIns="146277" rIns="182846" bIns="146277" rtlCol="0">
            <a:noAutofit/>
          </a:bodyPr>
          <a:lstStyle/>
          <a:p>
            <a:pPr defTabSz="932597">
              <a:lnSpc>
                <a:spcPct val="90000"/>
              </a:lnSpc>
              <a:spcAft>
                <a:spcPts val="600"/>
              </a:spcAft>
            </a:pPr>
            <a:endParaRPr lang="en-US" sz="1836" dirty="0" smtClean="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3090562843"/>
      </p:ext>
    </p:extLst>
  </p:cSld>
  <p:clrMapOvr>
    <a:masterClrMapping/>
  </p:clrMapOvr>
  <p:transition>
    <p:fade/>
  </p:transition>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3_Blue Tile Title">
    <p:spTree>
      <p:nvGrpSpPr>
        <p:cNvPr id="1" name=""/>
        <p:cNvGrpSpPr/>
        <p:nvPr/>
      </p:nvGrpSpPr>
      <p:grpSpPr>
        <a:xfrm>
          <a:off x="0" y="0"/>
          <a:ext cx="0" cy="0"/>
          <a:chOff x="0" y="0"/>
          <a:chExt cx="0" cy="0"/>
        </a:xfrm>
      </p:grpSpPr>
      <p:sp>
        <p:nvSpPr>
          <p:cNvPr id="2" name="TextBox 1"/>
          <p:cNvSpPr txBox="1"/>
          <p:nvPr/>
        </p:nvSpPr>
        <p:spPr>
          <a:xfrm>
            <a:off x="-1819275" y="-457200"/>
            <a:ext cx="914400" cy="914400"/>
          </a:xfrm>
          <a:prstGeom prst="rect">
            <a:avLst/>
          </a:prstGeom>
          <a:noFill/>
        </p:spPr>
        <p:txBody>
          <a:bodyPr wrap="none" lIns="182846" tIns="146277" rIns="182846" bIns="146277"/>
          <a:lstStyle/>
          <a:p>
            <a:pPr defTabSz="932137">
              <a:lnSpc>
                <a:spcPct val="90000"/>
              </a:lnSpc>
              <a:spcAft>
                <a:spcPts val="600"/>
              </a:spcAft>
              <a:defRPr/>
            </a:pPr>
            <a:endParaRPr lang="en-US" sz="1836" dirty="0">
              <a:gradFill>
                <a:gsLst>
                  <a:gs pos="2917">
                    <a:srgbClr val="505050"/>
                  </a:gs>
                  <a:gs pos="30000">
                    <a:srgbClr val="505050"/>
                  </a:gs>
                </a:gsLst>
                <a:lin ang="5400000" scaled="0"/>
              </a:gradFill>
              <a:ea typeface="ＭＳ Ｐゴシック" charset="0"/>
            </a:endParaRPr>
          </a:p>
        </p:txBody>
      </p:sp>
      <p:sp>
        <p:nvSpPr>
          <p:cNvPr id="3" name="TextBox 2"/>
          <p:cNvSpPr txBox="1"/>
          <p:nvPr/>
        </p:nvSpPr>
        <p:spPr>
          <a:xfrm>
            <a:off x="15919451" y="-3259138"/>
            <a:ext cx="914400" cy="914400"/>
          </a:xfrm>
          <a:prstGeom prst="rect">
            <a:avLst/>
          </a:prstGeom>
          <a:noFill/>
        </p:spPr>
        <p:txBody>
          <a:bodyPr wrap="none" lIns="182846" tIns="146277" rIns="182846" bIns="146277"/>
          <a:lstStyle/>
          <a:p>
            <a:pPr defTabSz="932137">
              <a:lnSpc>
                <a:spcPct val="90000"/>
              </a:lnSpc>
              <a:spcAft>
                <a:spcPts val="600"/>
              </a:spcAft>
              <a:defRPr/>
            </a:pPr>
            <a:endParaRPr lang="en-US" sz="1836" dirty="0">
              <a:gradFill>
                <a:gsLst>
                  <a:gs pos="2917">
                    <a:srgbClr val="505050"/>
                  </a:gs>
                  <a:gs pos="30000">
                    <a:srgbClr val="505050"/>
                  </a:gs>
                </a:gsLst>
                <a:lin ang="5400000" scaled="0"/>
              </a:gradFill>
              <a:ea typeface="ＭＳ Ｐゴシック" charset="0"/>
            </a:endParaRPr>
          </a:p>
        </p:txBody>
      </p:sp>
      <p:pic>
        <p:nvPicPr>
          <p:cNvPr id="5" name="Picture 4"/>
          <p:cNvPicPr>
            <a:picLocks noChangeAspect="1"/>
          </p:cNvPicPr>
          <p:nvPr/>
        </p:nvPicPr>
        <p:blipFill>
          <a:blip r:embed="rId2"/>
          <a:stretch>
            <a:fillRect/>
          </a:stretch>
        </p:blipFill>
        <p:spPr>
          <a:xfrm>
            <a:off x="318" y="-4128"/>
            <a:ext cx="12435840" cy="7002780"/>
          </a:xfrm>
          <a:prstGeom prst="rect">
            <a:avLst/>
          </a:prstGeom>
        </p:spPr>
      </p:pic>
    </p:spTree>
    <p:extLst>
      <p:ext uri="{BB962C8B-B14F-4D97-AF65-F5344CB8AC3E}">
        <p14:creationId xmlns:p14="http://schemas.microsoft.com/office/powerpoint/2010/main" val="3779504075"/>
      </p:ext>
    </p:extLst>
  </p:cSld>
  <p:clrMapOvr>
    <a:masterClrMapping/>
  </p:clrMapOvr>
  <p:transition>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4_Blue Tile Title">
    <p:spTree>
      <p:nvGrpSpPr>
        <p:cNvPr id="1" name=""/>
        <p:cNvGrpSpPr/>
        <p:nvPr/>
      </p:nvGrpSpPr>
      <p:grpSpPr>
        <a:xfrm>
          <a:off x="0" y="0"/>
          <a:ext cx="0" cy="0"/>
          <a:chOff x="0" y="0"/>
          <a:chExt cx="0" cy="0"/>
        </a:xfrm>
      </p:grpSpPr>
      <p:sp>
        <p:nvSpPr>
          <p:cNvPr id="2" name="TextBox 1"/>
          <p:cNvSpPr txBox="1"/>
          <p:nvPr/>
        </p:nvSpPr>
        <p:spPr>
          <a:xfrm>
            <a:off x="-1819275" y="-457200"/>
            <a:ext cx="914400" cy="914400"/>
          </a:xfrm>
          <a:prstGeom prst="rect">
            <a:avLst/>
          </a:prstGeom>
          <a:noFill/>
        </p:spPr>
        <p:txBody>
          <a:bodyPr wrap="none" lIns="182846" tIns="146277" rIns="182846" bIns="146277"/>
          <a:lstStyle/>
          <a:p>
            <a:pPr defTabSz="932137">
              <a:lnSpc>
                <a:spcPct val="90000"/>
              </a:lnSpc>
              <a:spcAft>
                <a:spcPts val="600"/>
              </a:spcAft>
              <a:defRPr/>
            </a:pPr>
            <a:endParaRPr lang="en-US" sz="1836" dirty="0">
              <a:gradFill>
                <a:gsLst>
                  <a:gs pos="2917">
                    <a:srgbClr val="505050"/>
                  </a:gs>
                  <a:gs pos="30000">
                    <a:srgbClr val="505050"/>
                  </a:gs>
                </a:gsLst>
                <a:lin ang="5400000" scaled="0"/>
              </a:gradFill>
              <a:ea typeface="ＭＳ Ｐゴシック" charset="0"/>
            </a:endParaRPr>
          </a:p>
        </p:txBody>
      </p:sp>
      <p:sp>
        <p:nvSpPr>
          <p:cNvPr id="3" name="TextBox 2"/>
          <p:cNvSpPr txBox="1"/>
          <p:nvPr/>
        </p:nvSpPr>
        <p:spPr>
          <a:xfrm>
            <a:off x="15919451" y="-3259138"/>
            <a:ext cx="914400" cy="914400"/>
          </a:xfrm>
          <a:prstGeom prst="rect">
            <a:avLst/>
          </a:prstGeom>
          <a:noFill/>
        </p:spPr>
        <p:txBody>
          <a:bodyPr wrap="none" lIns="182846" tIns="146277" rIns="182846" bIns="146277"/>
          <a:lstStyle/>
          <a:p>
            <a:pPr defTabSz="932137">
              <a:lnSpc>
                <a:spcPct val="90000"/>
              </a:lnSpc>
              <a:spcAft>
                <a:spcPts val="600"/>
              </a:spcAft>
              <a:defRPr/>
            </a:pPr>
            <a:endParaRPr lang="en-US" sz="1836" dirty="0">
              <a:gradFill>
                <a:gsLst>
                  <a:gs pos="2917">
                    <a:srgbClr val="505050"/>
                  </a:gs>
                  <a:gs pos="30000">
                    <a:srgbClr val="505050"/>
                  </a:gs>
                </a:gsLst>
                <a:lin ang="5400000" scaled="0"/>
              </a:gradFill>
              <a:ea typeface="ＭＳ Ｐゴシック" charset="0"/>
            </a:endParaRPr>
          </a:p>
        </p:txBody>
      </p:sp>
    </p:spTree>
    <p:extLst>
      <p:ext uri="{BB962C8B-B14F-4D97-AF65-F5344CB8AC3E}">
        <p14:creationId xmlns:p14="http://schemas.microsoft.com/office/powerpoint/2010/main" val="934211627"/>
      </p:ext>
    </p:extLst>
  </p:cSld>
  <p:clrMapOvr>
    <a:masterClrMapping/>
  </p:clrMapOvr>
  <p:transition>
    <p:fad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44027118"/>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endParaRPr>
              <a:solidFill>
                <a:srgbClr val="505050"/>
              </a:solidFill>
            </a:endParaRP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32FBFAE1-4542-4046-A9C2-27E9CAFA82CD}" type="slidenum">
              <a:rPr smtClean="0">
                <a:solidFill>
                  <a:srgbClr val="505050"/>
                </a:solidFill>
              </a:rPr>
              <a:pPr/>
              <a:t>‹#›</a:t>
            </a:fld>
            <a:endParaRPr>
              <a:solidFill>
                <a:srgbClr val="505050"/>
              </a:solidFill>
            </a:endParaRPr>
          </a:p>
        </p:txBody>
      </p:sp>
      <p:sp>
        <p:nvSpPr>
          <p:cNvPr id="7" name="Text Placeholder 4"/>
          <p:cNvSpPr>
            <a:spLocks noGrp="1"/>
          </p:cNvSpPr>
          <p:nvPr>
            <p:ph type="body" sz="quarter" idx="13"/>
          </p:nvPr>
        </p:nvSpPr>
        <p:spPr>
          <a:xfrm>
            <a:off x="274638" y="296865"/>
            <a:ext cx="10972800" cy="1024684"/>
          </a:xfrm>
          <a:prstGeom prst="rect">
            <a:avLst/>
          </a:prstGeom>
        </p:spPr>
        <p:txBody>
          <a:bodyPr lIns="143422" tIns="89639" rIns="143422" bIns="89639">
            <a:noAutofit/>
          </a:bodyPr>
          <a:lstStyle>
            <a:lvl1pPr marL="0" indent="0">
              <a:lnSpc>
                <a:spcPct val="90000"/>
              </a:lnSpc>
              <a:spcBef>
                <a:spcPts val="1198"/>
              </a:spcBef>
              <a:spcAft>
                <a:spcPts val="2400"/>
              </a:spcAft>
              <a:buFontTx/>
              <a:buNone/>
              <a:defRPr lang="en-US" sz="5201" b="0" i="0" kern="1200" spc="0" baseline="0" dirty="0" smtClean="0">
                <a:solidFill>
                  <a:schemeClr val="tx2"/>
                </a:solidFill>
                <a:latin typeface="+mj-lt"/>
                <a:ea typeface="+mn-ea"/>
                <a:cs typeface="+mn-cs"/>
              </a:defRPr>
            </a:lvl1pPr>
          </a:lstStyle>
          <a:p>
            <a:pPr marL="0" marR="0" lvl="0" indent="0" algn="l" defTabSz="932384" rtl="0" eaLnBrk="1" fontAlgn="auto" latinLnBrk="0" hangingPunct="1">
              <a:lnSpc>
                <a:spcPct val="90000"/>
              </a:lnSpc>
              <a:spcBef>
                <a:spcPts val="1198"/>
              </a:spcBef>
              <a:spcAft>
                <a:spcPts val="2400"/>
              </a:spcAft>
              <a:buClrTx/>
              <a:buSzPct val="90000"/>
              <a:buFontTx/>
              <a:buNone/>
              <a:tabLst/>
            </a:pPr>
            <a:r>
              <a:rPr lang="en-US" smtClean="0"/>
              <a:t>Click to edit Master text styles</a:t>
            </a:r>
          </a:p>
        </p:txBody>
      </p:sp>
    </p:spTree>
    <p:extLst>
      <p:ext uri="{BB962C8B-B14F-4D97-AF65-F5344CB8AC3E}">
        <p14:creationId xmlns:p14="http://schemas.microsoft.com/office/powerpoint/2010/main" val="56786344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187">
          <p15:clr>
            <a:srgbClr val="FBAE40"/>
          </p15:clr>
        </p15:guide>
        <p15:guide id="2" pos="17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4437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pPr defTabSz="932597"/>
            <a:fld id="{3AA9A1B9-51D4-4E85-9FEF-A875716FD5F0}" type="datetimeFigureOut">
              <a:rPr lang="en-US" smtClean="0">
                <a:solidFill>
                  <a:srgbClr val="000000"/>
                </a:solidFill>
              </a:rPr>
              <a:pPr defTabSz="932597"/>
              <a:t>5/5/2015</a:t>
            </a:fld>
            <a:endParaRPr lang="en-US">
              <a:solidFill>
                <a:srgbClr val="000000"/>
              </a:solidFill>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32FBFAE1-4542-4046-A9C2-27E9CAFA82CD}" type="slidenum">
              <a:rPr smtClean="0"/>
              <a:pPr/>
              <a:t>‹#›</a:t>
            </a:fld>
            <a:endParaRPr/>
          </a:p>
        </p:txBody>
      </p:sp>
    </p:spTree>
    <p:extLst>
      <p:ext uri="{BB962C8B-B14F-4D97-AF65-F5344CB8AC3E}">
        <p14:creationId xmlns:p14="http://schemas.microsoft.com/office/powerpoint/2010/main" val="59325451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37160" tIns="91440" rIns="137160" bIns="91440">
            <a:normAutofit/>
          </a:bodyPr>
          <a:lstStyle>
            <a:lvl1pPr algn="l">
              <a:defRPr sz="4896">
                <a:solidFill>
                  <a:schemeClr val="tx2"/>
                </a:solidFill>
                <a:latin typeface="Segoe UI Light" panose="020B0502040204020203" pitchFamily="34" charset="0"/>
                <a:cs typeface="Segoe UI Light"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66906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8">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90244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Freeform 1"/>
          <p:cNvSpPr/>
          <p:nvPr userDrawn="1"/>
        </p:nvSpPr>
        <p:spPr bwMode="auto">
          <a:xfrm>
            <a:off x="2798673" y="6715316"/>
            <a:ext cx="317896" cy="317851"/>
          </a:xfrm>
          <a:custGeom>
            <a:avLst/>
            <a:gdLst>
              <a:gd name="connsiteX0" fmla="*/ 518647 w 1037293"/>
              <a:gd name="connsiteY0" fmla="*/ 154760 h 1037293"/>
              <a:gd name="connsiteX1" fmla="*/ 476753 w 1037293"/>
              <a:gd name="connsiteY1" fmla="*/ 191814 h 1037293"/>
              <a:gd name="connsiteX2" fmla="*/ 385350 w 1037293"/>
              <a:gd name="connsiteY2" fmla="*/ 374232 h 1037293"/>
              <a:gd name="connsiteX3" fmla="*/ 183501 w 1037293"/>
              <a:gd name="connsiteY3" fmla="*/ 400835 h 1037293"/>
              <a:gd name="connsiteX4" fmla="*/ 160650 w 1037293"/>
              <a:gd name="connsiteY4" fmla="*/ 480643 h 1037293"/>
              <a:gd name="connsiteX5" fmla="*/ 305372 w 1037293"/>
              <a:gd name="connsiteY5" fmla="*/ 621257 h 1037293"/>
              <a:gd name="connsiteX6" fmla="*/ 271096 w 1037293"/>
              <a:gd name="connsiteY6" fmla="*/ 822677 h 1037293"/>
              <a:gd name="connsiteX7" fmla="*/ 335840 w 1037293"/>
              <a:gd name="connsiteY7" fmla="*/ 872082 h 1037293"/>
              <a:gd name="connsiteX8" fmla="*/ 518647 w 1037293"/>
              <a:gd name="connsiteY8" fmla="*/ 777072 h 1037293"/>
              <a:gd name="connsiteX9" fmla="*/ 697645 w 1037293"/>
              <a:gd name="connsiteY9" fmla="*/ 872082 h 1037293"/>
              <a:gd name="connsiteX10" fmla="*/ 766198 w 1037293"/>
              <a:gd name="connsiteY10" fmla="*/ 822677 h 1037293"/>
              <a:gd name="connsiteX11" fmla="*/ 731921 w 1037293"/>
              <a:gd name="connsiteY11" fmla="*/ 621257 h 1037293"/>
              <a:gd name="connsiteX12" fmla="*/ 876643 w 1037293"/>
              <a:gd name="connsiteY12" fmla="*/ 480643 h 1037293"/>
              <a:gd name="connsiteX13" fmla="*/ 849984 w 1037293"/>
              <a:gd name="connsiteY13" fmla="*/ 400835 h 1037293"/>
              <a:gd name="connsiteX14" fmla="*/ 648135 w 1037293"/>
              <a:gd name="connsiteY14" fmla="*/ 374232 h 1037293"/>
              <a:gd name="connsiteX15" fmla="*/ 560540 w 1037293"/>
              <a:gd name="connsiteY15" fmla="*/ 191814 h 1037293"/>
              <a:gd name="connsiteX16" fmla="*/ 518647 w 1037293"/>
              <a:gd name="connsiteY16" fmla="*/ 154760 h 1037293"/>
              <a:gd name="connsiteX17" fmla="*/ 172886 w 1037293"/>
              <a:gd name="connsiteY17" fmla="*/ 0 h 1037293"/>
              <a:gd name="connsiteX18" fmla="*/ 864407 w 1037293"/>
              <a:gd name="connsiteY18" fmla="*/ 0 h 1037293"/>
              <a:gd name="connsiteX19" fmla="*/ 1037293 w 1037293"/>
              <a:gd name="connsiteY19" fmla="*/ 172886 h 1037293"/>
              <a:gd name="connsiteX20" fmla="*/ 1037293 w 1037293"/>
              <a:gd name="connsiteY20" fmla="*/ 864407 h 1037293"/>
              <a:gd name="connsiteX21" fmla="*/ 864407 w 1037293"/>
              <a:gd name="connsiteY21" fmla="*/ 1037293 h 1037293"/>
              <a:gd name="connsiteX22" fmla="*/ 172886 w 1037293"/>
              <a:gd name="connsiteY22" fmla="*/ 1037293 h 1037293"/>
              <a:gd name="connsiteX23" fmla="*/ 0 w 1037293"/>
              <a:gd name="connsiteY23" fmla="*/ 864407 h 1037293"/>
              <a:gd name="connsiteX24" fmla="*/ 0 w 1037293"/>
              <a:gd name="connsiteY24" fmla="*/ 172886 h 1037293"/>
              <a:gd name="connsiteX25" fmla="*/ 172886 w 1037293"/>
              <a:gd name="connsiteY25" fmla="*/ 0 h 103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37293" h="1037293">
                <a:moveTo>
                  <a:pt x="518647" y="154760"/>
                </a:moveTo>
                <a:cubicBezTo>
                  <a:pt x="503413" y="154760"/>
                  <a:pt x="488179" y="167112"/>
                  <a:pt x="476753" y="191814"/>
                </a:cubicBezTo>
                <a:cubicBezTo>
                  <a:pt x="476753" y="191814"/>
                  <a:pt x="476753" y="191814"/>
                  <a:pt x="385350" y="374232"/>
                </a:cubicBezTo>
                <a:cubicBezTo>
                  <a:pt x="385350" y="374232"/>
                  <a:pt x="385350" y="374232"/>
                  <a:pt x="183501" y="400835"/>
                </a:cubicBezTo>
                <a:cubicBezTo>
                  <a:pt x="133991" y="408436"/>
                  <a:pt x="122565" y="446439"/>
                  <a:pt x="160650" y="480643"/>
                </a:cubicBezTo>
                <a:cubicBezTo>
                  <a:pt x="160650" y="480643"/>
                  <a:pt x="160650" y="480643"/>
                  <a:pt x="305372" y="621257"/>
                </a:cubicBezTo>
                <a:cubicBezTo>
                  <a:pt x="305372" y="621257"/>
                  <a:pt x="305372" y="621257"/>
                  <a:pt x="271096" y="822677"/>
                </a:cubicBezTo>
                <a:cubicBezTo>
                  <a:pt x="263479" y="875882"/>
                  <a:pt x="290138" y="894884"/>
                  <a:pt x="335840" y="872082"/>
                </a:cubicBezTo>
                <a:cubicBezTo>
                  <a:pt x="335840" y="872082"/>
                  <a:pt x="335840" y="872082"/>
                  <a:pt x="518647" y="777072"/>
                </a:cubicBezTo>
                <a:cubicBezTo>
                  <a:pt x="518647" y="777072"/>
                  <a:pt x="518647" y="777072"/>
                  <a:pt x="697645" y="872082"/>
                </a:cubicBezTo>
                <a:cubicBezTo>
                  <a:pt x="743347" y="894884"/>
                  <a:pt x="773815" y="875882"/>
                  <a:pt x="766198" y="822677"/>
                </a:cubicBezTo>
                <a:cubicBezTo>
                  <a:pt x="766198" y="822677"/>
                  <a:pt x="766198" y="822677"/>
                  <a:pt x="731921" y="621257"/>
                </a:cubicBezTo>
                <a:cubicBezTo>
                  <a:pt x="731921" y="621257"/>
                  <a:pt x="731921" y="621257"/>
                  <a:pt x="876643" y="480643"/>
                </a:cubicBezTo>
                <a:cubicBezTo>
                  <a:pt x="914728" y="446439"/>
                  <a:pt x="903303" y="408436"/>
                  <a:pt x="849984" y="400835"/>
                </a:cubicBezTo>
                <a:cubicBezTo>
                  <a:pt x="849984" y="400835"/>
                  <a:pt x="849984" y="400835"/>
                  <a:pt x="648135" y="374232"/>
                </a:cubicBezTo>
                <a:cubicBezTo>
                  <a:pt x="648135" y="374232"/>
                  <a:pt x="648135" y="374232"/>
                  <a:pt x="560540" y="191814"/>
                </a:cubicBezTo>
                <a:cubicBezTo>
                  <a:pt x="549115" y="167112"/>
                  <a:pt x="533881" y="154760"/>
                  <a:pt x="518647" y="154760"/>
                </a:cubicBezTo>
                <a:close/>
                <a:moveTo>
                  <a:pt x="172886" y="0"/>
                </a:moveTo>
                <a:lnTo>
                  <a:pt x="864407" y="0"/>
                </a:lnTo>
                <a:cubicBezTo>
                  <a:pt x="959889" y="0"/>
                  <a:pt x="1037293" y="77404"/>
                  <a:pt x="1037293" y="172886"/>
                </a:cubicBezTo>
                <a:lnTo>
                  <a:pt x="1037293" y="864407"/>
                </a:lnTo>
                <a:cubicBezTo>
                  <a:pt x="1037293" y="959889"/>
                  <a:pt x="959889" y="1037293"/>
                  <a:pt x="864407" y="1037293"/>
                </a:cubicBezTo>
                <a:lnTo>
                  <a:pt x="172886" y="1037293"/>
                </a:lnTo>
                <a:cubicBezTo>
                  <a:pt x="77404" y="1037293"/>
                  <a:pt x="0" y="959889"/>
                  <a:pt x="0" y="864407"/>
                </a:cubicBezTo>
                <a:lnTo>
                  <a:pt x="0" y="172886"/>
                </a:lnTo>
                <a:cubicBezTo>
                  <a:pt x="0" y="77404"/>
                  <a:pt x="77404" y="0"/>
                  <a:pt x="172886"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userDrawn="1"/>
        </p:nvGrpSpPr>
        <p:grpSpPr>
          <a:xfrm>
            <a:off x="2333929" y="1459922"/>
            <a:ext cx="1097795" cy="704450"/>
            <a:chOff x="1342452" y="940002"/>
            <a:chExt cx="1243855" cy="798289"/>
          </a:xfrm>
          <a:solidFill>
            <a:schemeClr val="bg1">
              <a:lumMod val="85000"/>
            </a:schemeClr>
          </a:solidFill>
        </p:grpSpPr>
        <p:sp>
          <p:nvSpPr>
            <p:cNvPr id="4" name="Freeform 17"/>
            <p:cNvSpPr>
              <a:spLocks/>
            </p:cNvSpPr>
            <p:nvPr/>
          </p:nvSpPr>
          <p:spPr bwMode="auto">
            <a:xfrm flipH="1">
              <a:off x="1342452" y="1687800"/>
              <a:ext cx="1243855" cy="50491"/>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 name="Freeform 4"/>
            <p:cNvSpPr>
              <a:spLocks noChangeArrowheads="1"/>
            </p:cNvSpPr>
            <p:nvPr/>
          </p:nvSpPr>
          <p:spPr bwMode="auto">
            <a:xfrm flipH="1">
              <a:off x="1447582" y="940002"/>
              <a:ext cx="1033592" cy="718348"/>
            </a:xfrm>
            <a:custGeom>
              <a:avLst/>
              <a:gdLst>
                <a:gd name="connsiteX0" fmla="*/ 65525 w 1059462"/>
                <a:gd name="connsiteY0" fmla="*/ 56659 h 736328"/>
                <a:gd name="connsiteX1" fmla="*/ 65525 w 1059462"/>
                <a:gd name="connsiteY1" fmla="*/ 680273 h 736328"/>
                <a:gd name="connsiteX2" fmla="*/ 993938 w 1059462"/>
                <a:gd name="connsiteY2" fmla="*/ 680273 h 736328"/>
                <a:gd name="connsiteX3" fmla="*/ 993938 w 1059462"/>
                <a:gd name="connsiteY3" fmla="*/ 56659 h 736328"/>
                <a:gd name="connsiteX4" fmla="*/ 35300 w 1059462"/>
                <a:gd name="connsiteY4" fmla="*/ 0 h 736328"/>
                <a:gd name="connsiteX5" fmla="*/ 1024162 w 1059462"/>
                <a:gd name="connsiteY5" fmla="*/ 0 h 736328"/>
                <a:gd name="connsiteX6" fmla="*/ 1059462 w 1059462"/>
                <a:gd name="connsiteY6" fmla="*/ 35300 h 736328"/>
                <a:gd name="connsiteX7" fmla="*/ 1059462 w 1059462"/>
                <a:gd name="connsiteY7" fmla="*/ 701028 h 736328"/>
                <a:gd name="connsiteX8" fmla="*/ 1024162 w 1059462"/>
                <a:gd name="connsiteY8" fmla="*/ 736328 h 736328"/>
                <a:gd name="connsiteX9" fmla="*/ 35300 w 1059462"/>
                <a:gd name="connsiteY9" fmla="*/ 736328 h 736328"/>
                <a:gd name="connsiteX10" fmla="*/ 0 w 1059462"/>
                <a:gd name="connsiteY10" fmla="*/ 701028 h 736328"/>
                <a:gd name="connsiteX11" fmla="*/ 0 w 1059462"/>
                <a:gd name="connsiteY11" fmla="*/ 35300 h 736328"/>
                <a:gd name="connsiteX12" fmla="*/ 35300 w 1059462"/>
                <a:gd name="connsiteY12" fmla="*/ 0 h 73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9462" h="736328">
                  <a:moveTo>
                    <a:pt x="65525" y="56659"/>
                  </a:moveTo>
                  <a:lnTo>
                    <a:pt x="65525" y="680273"/>
                  </a:lnTo>
                  <a:lnTo>
                    <a:pt x="993938" y="680273"/>
                  </a:lnTo>
                  <a:lnTo>
                    <a:pt x="993938" y="56659"/>
                  </a:lnTo>
                  <a:close/>
                  <a:moveTo>
                    <a:pt x="35300" y="0"/>
                  </a:moveTo>
                  <a:lnTo>
                    <a:pt x="1024162" y="0"/>
                  </a:lnTo>
                  <a:cubicBezTo>
                    <a:pt x="1043658" y="0"/>
                    <a:pt x="1059462" y="15804"/>
                    <a:pt x="1059462" y="35300"/>
                  </a:cubicBezTo>
                  <a:lnTo>
                    <a:pt x="1059462" y="701028"/>
                  </a:lnTo>
                  <a:cubicBezTo>
                    <a:pt x="1059462" y="720524"/>
                    <a:pt x="1043658" y="736328"/>
                    <a:pt x="1024162" y="736328"/>
                  </a:cubicBezTo>
                  <a:lnTo>
                    <a:pt x="35300" y="736328"/>
                  </a:lnTo>
                  <a:cubicBezTo>
                    <a:pt x="15804" y="736328"/>
                    <a:pt x="0" y="720524"/>
                    <a:pt x="0" y="701028"/>
                  </a:cubicBezTo>
                  <a:lnTo>
                    <a:pt x="0" y="35300"/>
                  </a:lnTo>
                  <a:cubicBezTo>
                    <a:pt x="0" y="15804"/>
                    <a:pt x="15804" y="0"/>
                    <a:pt x="35300"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6" name="Freeform 5"/>
          <p:cNvSpPr>
            <a:spLocks noEditPoints="1"/>
          </p:cNvSpPr>
          <p:nvPr userDrawn="1"/>
        </p:nvSpPr>
        <p:spPr bwMode="auto">
          <a:xfrm flipH="1">
            <a:off x="9538897" y="3984948"/>
            <a:ext cx="544114" cy="969325"/>
          </a:xfrm>
          <a:custGeom>
            <a:avLst/>
            <a:gdLst>
              <a:gd name="T0" fmla="*/ 31 w 34"/>
              <a:gd name="T1" fmla="*/ 0 h 63"/>
              <a:gd name="T2" fmla="*/ 3 w 34"/>
              <a:gd name="T3" fmla="*/ 0 h 63"/>
              <a:gd name="T4" fmla="*/ 0 w 34"/>
              <a:gd name="T5" fmla="*/ 3 h 63"/>
              <a:gd name="T6" fmla="*/ 0 w 34"/>
              <a:gd name="T7" fmla="*/ 60 h 63"/>
              <a:gd name="T8" fmla="*/ 3 w 34"/>
              <a:gd name="T9" fmla="*/ 63 h 63"/>
              <a:gd name="T10" fmla="*/ 31 w 34"/>
              <a:gd name="T11" fmla="*/ 63 h 63"/>
              <a:gd name="T12" fmla="*/ 34 w 34"/>
              <a:gd name="T13" fmla="*/ 60 h 63"/>
              <a:gd name="T14" fmla="*/ 34 w 34"/>
              <a:gd name="T15" fmla="*/ 3 h 63"/>
              <a:gd name="T16" fmla="*/ 31 w 34"/>
              <a:gd name="T17" fmla="*/ 0 h 63"/>
              <a:gd name="T18" fmla="*/ 14 w 34"/>
              <a:gd name="T19" fmla="*/ 1 h 63"/>
              <a:gd name="T20" fmla="*/ 20 w 34"/>
              <a:gd name="T21" fmla="*/ 1 h 63"/>
              <a:gd name="T22" fmla="*/ 20 w 34"/>
              <a:gd name="T23" fmla="*/ 2 h 63"/>
              <a:gd name="T24" fmla="*/ 14 w 34"/>
              <a:gd name="T25" fmla="*/ 2 h 63"/>
              <a:gd name="T26" fmla="*/ 14 w 34"/>
              <a:gd name="T27" fmla="*/ 1 h 63"/>
              <a:gd name="T28" fmla="*/ 31 w 34"/>
              <a:gd name="T29" fmla="*/ 55 h 63"/>
              <a:gd name="T30" fmla="*/ 3 w 34"/>
              <a:gd name="T31" fmla="*/ 55 h 63"/>
              <a:gd name="T32" fmla="*/ 3 w 34"/>
              <a:gd name="T33" fmla="*/ 4 h 63"/>
              <a:gd name="T34" fmla="*/ 31 w 34"/>
              <a:gd name="T35" fmla="*/ 4 h 63"/>
              <a:gd name="T36" fmla="*/ 31 w 34"/>
              <a:gd name="T37" fmla="*/ 5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63">
                <a:moveTo>
                  <a:pt x="31" y="0"/>
                </a:moveTo>
                <a:cubicBezTo>
                  <a:pt x="3" y="0"/>
                  <a:pt x="3" y="0"/>
                  <a:pt x="3" y="0"/>
                </a:cubicBezTo>
                <a:cubicBezTo>
                  <a:pt x="1" y="0"/>
                  <a:pt x="0" y="1"/>
                  <a:pt x="0" y="3"/>
                </a:cubicBezTo>
                <a:cubicBezTo>
                  <a:pt x="0" y="60"/>
                  <a:pt x="0" y="60"/>
                  <a:pt x="0" y="60"/>
                </a:cubicBezTo>
                <a:cubicBezTo>
                  <a:pt x="0" y="61"/>
                  <a:pt x="1" y="63"/>
                  <a:pt x="3" y="63"/>
                </a:cubicBezTo>
                <a:cubicBezTo>
                  <a:pt x="31" y="63"/>
                  <a:pt x="31" y="63"/>
                  <a:pt x="31" y="63"/>
                </a:cubicBezTo>
                <a:cubicBezTo>
                  <a:pt x="33" y="63"/>
                  <a:pt x="34" y="61"/>
                  <a:pt x="34" y="60"/>
                </a:cubicBezTo>
                <a:cubicBezTo>
                  <a:pt x="34" y="3"/>
                  <a:pt x="34" y="3"/>
                  <a:pt x="34" y="3"/>
                </a:cubicBezTo>
                <a:cubicBezTo>
                  <a:pt x="34" y="1"/>
                  <a:pt x="33" y="0"/>
                  <a:pt x="31" y="0"/>
                </a:cubicBezTo>
                <a:close/>
                <a:moveTo>
                  <a:pt x="14" y="1"/>
                </a:moveTo>
                <a:cubicBezTo>
                  <a:pt x="20" y="1"/>
                  <a:pt x="20" y="1"/>
                  <a:pt x="20" y="1"/>
                </a:cubicBezTo>
                <a:cubicBezTo>
                  <a:pt x="20" y="2"/>
                  <a:pt x="20" y="2"/>
                  <a:pt x="20" y="2"/>
                </a:cubicBezTo>
                <a:cubicBezTo>
                  <a:pt x="14" y="2"/>
                  <a:pt x="14" y="2"/>
                  <a:pt x="14" y="2"/>
                </a:cubicBezTo>
                <a:lnTo>
                  <a:pt x="14" y="1"/>
                </a:lnTo>
                <a:close/>
                <a:moveTo>
                  <a:pt x="31" y="55"/>
                </a:moveTo>
                <a:cubicBezTo>
                  <a:pt x="3" y="55"/>
                  <a:pt x="3" y="55"/>
                  <a:pt x="3" y="55"/>
                </a:cubicBezTo>
                <a:cubicBezTo>
                  <a:pt x="3" y="4"/>
                  <a:pt x="3" y="4"/>
                  <a:pt x="3" y="4"/>
                </a:cubicBezTo>
                <a:cubicBezTo>
                  <a:pt x="31" y="4"/>
                  <a:pt x="31" y="4"/>
                  <a:pt x="31" y="4"/>
                </a:cubicBezTo>
                <a:lnTo>
                  <a:pt x="31" y="55"/>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9"/>
          <p:cNvSpPr>
            <a:spLocks noEditPoints="1"/>
          </p:cNvSpPr>
          <p:nvPr userDrawn="1"/>
        </p:nvSpPr>
        <p:spPr bwMode="auto">
          <a:xfrm flipH="1">
            <a:off x="3425315" y="5731553"/>
            <a:ext cx="599516" cy="814181"/>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8" name="Freeform 7"/>
          <p:cNvSpPr>
            <a:spLocks noEditPoints="1"/>
          </p:cNvSpPr>
          <p:nvPr userDrawn="1"/>
        </p:nvSpPr>
        <p:spPr bwMode="black">
          <a:xfrm>
            <a:off x="1426753" y="1066670"/>
            <a:ext cx="787192" cy="787987"/>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9" name="Freeform 17"/>
          <p:cNvSpPr>
            <a:spLocks noEditPoints="1"/>
          </p:cNvSpPr>
          <p:nvPr userDrawn="1"/>
        </p:nvSpPr>
        <p:spPr bwMode="black">
          <a:xfrm>
            <a:off x="8988562" y="505933"/>
            <a:ext cx="614705" cy="61532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107"/>
          <p:cNvSpPr>
            <a:spLocks noEditPoints="1"/>
          </p:cNvSpPr>
          <p:nvPr userDrawn="1"/>
        </p:nvSpPr>
        <p:spPr bwMode="auto">
          <a:xfrm>
            <a:off x="278415" y="4022133"/>
            <a:ext cx="510051" cy="355724"/>
          </a:xfrm>
          <a:custGeom>
            <a:avLst/>
            <a:gdLst>
              <a:gd name="T0" fmla="*/ 86 w 98"/>
              <a:gd name="T1" fmla="*/ 21 h 68"/>
              <a:gd name="T2" fmla="*/ 83 w 98"/>
              <a:gd name="T3" fmla="*/ 18 h 68"/>
              <a:gd name="T4" fmla="*/ 86 w 98"/>
              <a:gd name="T5" fmla="*/ 15 h 68"/>
              <a:gd name="T6" fmla="*/ 89 w 98"/>
              <a:gd name="T7" fmla="*/ 18 h 68"/>
              <a:gd name="T8" fmla="*/ 86 w 98"/>
              <a:gd name="T9" fmla="*/ 21 h 68"/>
              <a:gd name="T10" fmla="*/ 78 w 98"/>
              <a:gd name="T11" fmla="*/ 14 h 68"/>
              <a:gd name="T12" fmla="*/ 75 w 98"/>
              <a:gd name="T13" fmla="*/ 11 h 68"/>
              <a:gd name="T14" fmla="*/ 78 w 98"/>
              <a:gd name="T15" fmla="*/ 8 h 68"/>
              <a:gd name="T16" fmla="*/ 81 w 98"/>
              <a:gd name="T17" fmla="*/ 11 h 68"/>
              <a:gd name="T18" fmla="*/ 78 w 98"/>
              <a:gd name="T19" fmla="*/ 14 h 68"/>
              <a:gd name="T20" fmla="*/ 78 w 98"/>
              <a:gd name="T21" fmla="*/ 29 h 68"/>
              <a:gd name="T22" fmla="*/ 75 w 98"/>
              <a:gd name="T23" fmla="*/ 26 h 68"/>
              <a:gd name="T24" fmla="*/ 78 w 98"/>
              <a:gd name="T25" fmla="*/ 23 h 68"/>
              <a:gd name="T26" fmla="*/ 81 w 98"/>
              <a:gd name="T27" fmla="*/ 26 h 68"/>
              <a:gd name="T28" fmla="*/ 78 w 98"/>
              <a:gd name="T29" fmla="*/ 29 h 68"/>
              <a:gd name="T30" fmla="*/ 70 w 98"/>
              <a:gd name="T31" fmla="*/ 21 h 68"/>
              <a:gd name="T32" fmla="*/ 67 w 98"/>
              <a:gd name="T33" fmla="*/ 18 h 68"/>
              <a:gd name="T34" fmla="*/ 70 w 98"/>
              <a:gd name="T35" fmla="*/ 15 h 68"/>
              <a:gd name="T36" fmla="*/ 73 w 98"/>
              <a:gd name="T37" fmla="*/ 18 h 68"/>
              <a:gd name="T38" fmla="*/ 70 w 98"/>
              <a:gd name="T39" fmla="*/ 21 h 68"/>
              <a:gd name="T40" fmla="*/ 63 w 98"/>
              <a:gd name="T41" fmla="*/ 42 h 68"/>
              <a:gd name="T42" fmla="*/ 56 w 98"/>
              <a:gd name="T43" fmla="*/ 36 h 68"/>
              <a:gd name="T44" fmla="*/ 63 w 98"/>
              <a:gd name="T45" fmla="*/ 29 h 68"/>
              <a:gd name="T46" fmla="*/ 69 w 98"/>
              <a:gd name="T47" fmla="*/ 36 h 68"/>
              <a:gd name="T48" fmla="*/ 63 w 98"/>
              <a:gd name="T49" fmla="*/ 42 h 68"/>
              <a:gd name="T50" fmla="*/ 49 w 98"/>
              <a:gd name="T51" fmla="*/ 25 h 68"/>
              <a:gd name="T52" fmla="*/ 43 w 98"/>
              <a:gd name="T53" fmla="*/ 19 h 68"/>
              <a:gd name="T54" fmla="*/ 49 w 98"/>
              <a:gd name="T55" fmla="*/ 13 h 68"/>
              <a:gd name="T56" fmla="*/ 55 w 98"/>
              <a:gd name="T57" fmla="*/ 19 h 68"/>
              <a:gd name="T58" fmla="*/ 49 w 98"/>
              <a:gd name="T59" fmla="*/ 25 h 68"/>
              <a:gd name="T60" fmla="*/ 34 w 98"/>
              <a:gd name="T61" fmla="*/ 44 h 68"/>
              <a:gd name="T62" fmla="*/ 25 w 98"/>
              <a:gd name="T63" fmla="*/ 36 h 68"/>
              <a:gd name="T64" fmla="*/ 34 w 98"/>
              <a:gd name="T65" fmla="*/ 27 h 68"/>
              <a:gd name="T66" fmla="*/ 43 w 98"/>
              <a:gd name="T67" fmla="*/ 36 h 68"/>
              <a:gd name="T68" fmla="*/ 34 w 98"/>
              <a:gd name="T69" fmla="*/ 44 h 68"/>
              <a:gd name="T70" fmla="*/ 20 w 98"/>
              <a:gd name="T71" fmla="*/ 25 h 68"/>
              <a:gd name="T72" fmla="*/ 13 w 98"/>
              <a:gd name="T73" fmla="*/ 18 h 68"/>
              <a:gd name="T74" fmla="*/ 20 w 98"/>
              <a:gd name="T75" fmla="*/ 11 h 68"/>
              <a:gd name="T76" fmla="*/ 26 w 98"/>
              <a:gd name="T77" fmla="*/ 18 h 68"/>
              <a:gd name="T78" fmla="*/ 20 w 98"/>
              <a:gd name="T79" fmla="*/ 25 h 68"/>
              <a:gd name="T80" fmla="*/ 89 w 98"/>
              <a:gd name="T81" fmla="*/ 14 h 68"/>
              <a:gd name="T82" fmla="*/ 83 w 98"/>
              <a:gd name="T83" fmla="*/ 5 h 68"/>
              <a:gd name="T84" fmla="*/ 83 w 98"/>
              <a:gd name="T85" fmla="*/ 3 h 68"/>
              <a:gd name="T86" fmla="*/ 70 w 98"/>
              <a:gd name="T87" fmla="*/ 1 h 68"/>
              <a:gd name="T88" fmla="*/ 70 w 98"/>
              <a:gd name="T89" fmla="*/ 2 h 68"/>
              <a:gd name="T90" fmla="*/ 49 w 98"/>
              <a:gd name="T91" fmla="*/ 9 h 68"/>
              <a:gd name="T92" fmla="*/ 28 w 98"/>
              <a:gd name="T93" fmla="*/ 2 h 68"/>
              <a:gd name="T94" fmla="*/ 28 w 98"/>
              <a:gd name="T95" fmla="*/ 1 h 68"/>
              <a:gd name="T96" fmla="*/ 15 w 98"/>
              <a:gd name="T97" fmla="*/ 3 h 68"/>
              <a:gd name="T98" fmla="*/ 15 w 98"/>
              <a:gd name="T99" fmla="*/ 5 h 68"/>
              <a:gd name="T100" fmla="*/ 9 w 98"/>
              <a:gd name="T101" fmla="*/ 14 h 68"/>
              <a:gd name="T102" fmla="*/ 2 w 98"/>
              <a:gd name="T103" fmla="*/ 54 h 68"/>
              <a:gd name="T104" fmla="*/ 10 w 98"/>
              <a:gd name="T105" fmla="*/ 67 h 68"/>
              <a:gd name="T106" fmla="*/ 28 w 98"/>
              <a:gd name="T107" fmla="*/ 53 h 68"/>
              <a:gd name="T108" fmla="*/ 70 w 98"/>
              <a:gd name="T109" fmla="*/ 53 h 68"/>
              <a:gd name="T110" fmla="*/ 88 w 98"/>
              <a:gd name="T111" fmla="*/ 67 h 68"/>
              <a:gd name="T112" fmla="*/ 96 w 98"/>
              <a:gd name="T113" fmla="*/ 54 h 68"/>
              <a:gd name="T114" fmla="*/ 89 w 98"/>
              <a:gd name="T115"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68">
                <a:moveTo>
                  <a:pt x="86" y="21"/>
                </a:moveTo>
                <a:cubicBezTo>
                  <a:pt x="84" y="21"/>
                  <a:pt x="83" y="20"/>
                  <a:pt x="83" y="18"/>
                </a:cubicBezTo>
                <a:cubicBezTo>
                  <a:pt x="83" y="17"/>
                  <a:pt x="84" y="15"/>
                  <a:pt x="86" y="15"/>
                </a:cubicBezTo>
                <a:cubicBezTo>
                  <a:pt x="87" y="15"/>
                  <a:pt x="89" y="17"/>
                  <a:pt x="89" y="18"/>
                </a:cubicBezTo>
                <a:cubicBezTo>
                  <a:pt x="89" y="20"/>
                  <a:pt x="87" y="21"/>
                  <a:pt x="86" y="21"/>
                </a:cubicBezTo>
                <a:moveTo>
                  <a:pt x="78" y="14"/>
                </a:moveTo>
                <a:cubicBezTo>
                  <a:pt x="76" y="14"/>
                  <a:pt x="75" y="12"/>
                  <a:pt x="75" y="11"/>
                </a:cubicBezTo>
                <a:cubicBezTo>
                  <a:pt x="75" y="9"/>
                  <a:pt x="76" y="8"/>
                  <a:pt x="78" y="8"/>
                </a:cubicBezTo>
                <a:cubicBezTo>
                  <a:pt x="80" y="8"/>
                  <a:pt x="81" y="9"/>
                  <a:pt x="81" y="11"/>
                </a:cubicBezTo>
                <a:cubicBezTo>
                  <a:pt x="81" y="12"/>
                  <a:pt x="80" y="14"/>
                  <a:pt x="78" y="14"/>
                </a:cubicBezTo>
                <a:moveTo>
                  <a:pt x="78" y="29"/>
                </a:moveTo>
                <a:cubicBezTo>
                  <a:pt x="76" y="29"/>
                  <a:pt x="75" y="27"/>
                  <a:pt x="75" y="26"/>
                </a:cubicBezTo>
                <a:cubicBezTo>
                  <a:pt x="75" y="24"/>
                  <a:pt x="76" y="23"/>
                  <a:pt x="78" y="23"/>
                </a:cubicBezTo>
                <a:cubicBezTo>
                  <a:pt x="80" y="23"/>
                  <a:pt x="81" y="24"/>
                  <a:pt x="81" y="26"/>
                </a:cubicBezTo>
                <a:cubicBezTo>
                  <a:pt x="81" y="27"/>
                  <a:pt x="80" y="29"/>
                  <a:pt x="78" y="29"/>
                </a:cubicBezTo>
                <a:moveTo>
                  <a:pt x="70" y="21"/>
                </a:moveTo>
                <a:cubicBezTo>
                  <a:pt x="68" y="21"/>
                  <a:pt x="67" y="20"/>
                  <a:pt x="67" y="18"/>
                </a:cubicBezTo>
                <a:cubicBezTo>
                  <a:pt x="67" y="17"/>
                  <a:pt x="68" y="15"/>
                  <a:pt x="70" y="15"/>
                </a:cubicBezTo>
                <a:cubicBezTo>
                  <a:pt x="72" y="15"/>
                  <a:pt x="73" y="17"/>
                  <a:pt x="73" y="18"/>
                </a:cubicBezTo>
                <a:cubicBezTo>
                  <a:pt x="73" y="20"/>
                  <a:pt x="72" y="21"/>
                  <a:pt x="70" y="21"/>
                </a:cubicBezTo>
                <a:moveTo>
                  <a:pt x="63" y="42"/>
                </a:moveTo>
                <a:cubicBezTo>
                  <a:pt x="59" y="42"/>
                  <a:pt x="56" y="39"/>
                  <a:pt x="56" y="36"/>
                </a:cubicBezTo>
                <a:cubicBezTo>
                  <a:pt x="56" y="32"/>
                  <a:pt x="59" y="29"/>
                  <a:pt x="63" y="29"/>
                </a:cubicBezTo>
                <a:cubicBezTo>
                  <a:pt x="66" y="29"/>
                  <a:pt x="69" y="32"/>
                  <a:pt x="69" y="36"/>
                </a:cubicBezTo>
                <a:cubicBezTo>
                  <a:pt x="69" y="39"/>
                  <a:pt x="66" y="42"/>
                  <a:pt x="63" y="42"/>
                </a:cubicBezTo>
                <a:moveTo>
                  <a:pt x="49" y="25"/>
                </a:moveTo>
                <a:cubicBezTo>
                  <a:pt x="46" y="25"/>
                  <a:pt x="43" y="22"/>
                  <a:pt x="43" y="19"/>
                </a:cubicBezTo>
                <a:cubicBezTo>
                  <a:pt x="43" y="15"/>
                  <a:pt x="46" y="13"/>
                  <a:pt x="49" y="13"/>
                </a:cubicBezTo>
                <a:cubicBezTo>
                  <a:pt x="52" y="13"/>
                  <a:pt x="55" y="15"/>
                  <a:pt x="55" y="19"/>
                </a:cubicBezTo>
                <a:cubicBezTo>
                  <a:pt x="55" y="22"/>
                  <a:pt x="52" y="25"/>
                  <a:pt x="49" y="25"/>
                </a:cubicBezTo>
                <a:moveTo>
                  <a:pt x="34" y="44"/>
                </a:moveTo>
                <a:cubicBezTo>
                  <a:pt x="29" y="44"/>
                  <a:pt x="25" y="40"/>
                  <a:pt x="25" y="36"/>
                </a:cubicBezTo>
                <a:cubicBezTo>
                  <a:pt x="25" y="31"/>
                  <a:pt x="29" y="27"/>
                  <a:pt x="34" y="27"/>
                </a:cubicBezTo>
                <a:cubicBezTo>
                  <a:pt x="39" y="27"/>
                  <a:pt x="43" y="31"/>
                  <a:pt x="43" y="36"/>
                </a:cubicBezTo>
                <a:cubicBezTo>
                  <a:pt x="43" y="40"/>
                  <a:pt x="39" y="44"/>
                  <a:pt x="34" y="44"/>
                </a:cubicBezTo>
                <a:moveTo>
                  <a:pt x="20" y="25"/>
                </a:moveTo>
                <a:cubicBezTo>
                  <a:pt x="16" y="25"/>
                  <a:pt x="13" y="22"/>
                  <a:pt x="13" y="18"/>
                </a:cubicBezTo>
                <a:cubicBezTo>
                  <a:pt x="13" y="14"/>
                  <a:pt x="16" y="11"/>
                  <a:pt x="20" y="11"/>
                </a:cubicBezTo>
                <a:cubicBezTo>
                  <a:pt x="23" y="11"/>
                  <a:pt x="26" y="14"/>
                  <a:pt x="26" y="18"/>
                </a:cubicBezTo>
                <a:cubicBezTo>
                  <a:pt x="26" y="22"/>
                  <a:pt x="23" y="25"/>
                  <a:pt x="20" y="25"/>
                </a:cubicBezTo>
                <a:moveTo>
                  <a:pt x="89" y="14"/>
                </a:moveTo>
                <a:cubicBezTo>
                  <a:pt x="88" y="11"/>
                  <a:pt x="86" y="7"/>
                  <a:pt x="83" y="5"/>
                </a:cubicBezTo>
                <a:cubicBezTo>
                  <a:pt x="83" y="3"/>
                  <a:pt x="83" y="3"/>
                  <a:pt x="83" y="3"/>
                </a:cubicBezTo>
                <a:cubicBezTo>
                  <a:pt x="79" y="0"/>
                  <a:pt x="70" y="1"/>
                  <a:pt x="70" y="1"/>
                </a:cubicBezTo>
                <a:cubicBezTo>
                  <a:pt x="70" y="2"/>
                  <a:pt x="70" y="2"/>
                  <a:pt x="70" y="2"/>
                </a:cubicBezTo>
                <a:cubicBezTo>
                  <a:pt x="63" y="3"/>
                  <a:pt x="64" y="9"/>
                  <a:pt x="49" y="9"/>
                </a:cubicBezTo>
                <a:cubicBezTo>
                  <a:pt x="34" y="9"/>
                  <a:pt x="35" y="3"/>
                  <a:pt x="28" y="2"/>
                </a:cubicBezTo>
                <a:cubicBezTo>
                  <a:pt x="28" y="1"/>
                  <a:pt x="28" y="1"/>
                  <a:pt x="28" y="1"/>
                </a:cubicBezTo>
                <a:cubicBezTo>
                  <a:pt x="28" y="1"/>
                  <a:pt x="19" y="0"/>
                  <a:pt x="15" y="3"/>
                </a:cubicBezTo>
                <a:cubicBezTo>
                  <a:pt x="15" y="5"/>
                  <a:pt x="15" y="5"/>
                  <a:pt x="15" y="5"/>
                </a:cubicBezTo>
                <a:cubicBezTo>
                  <a:pt x="12" y="7"/>
                  <a:pt x="10" y="11"/>
                  <a:pt x="9" y="14"/>
                </a:cubicBezTo>
                <a:cubicBezTo>
                  <a:pt x="5" y="21"/>
                  <a:pt x="0" y="40"/>
                  <a:pt x="2" y="54"/>
                </a:cubicBezTo>
                <a:cubicBezTo>
                  <a:pt x="3" y="65"/>
                  <a:pt x="5" y="67"/>
                  <a:pt x="10" y="67"/>
                </a:cubicBezTo>
                <a:cubicBezTo>
                  <a:pt x="15" y="68"/>
                  <a:pt x="22" y="58"/>
                  <a:pt x="28" y="53"/>
                </a:cubicBezTo>
                <a:cubicBezTo>
                  <a:pt x="36" y="48"/>
                  <a:pt x="62" y="48"/>
                  <a:pt x="70" y="53"/>
                </a:cubicBezTo>
                <a:cubicBezTo>
                  <a:pt x="76" y="58"/>
                  <a:pt x="83" y="68"/>
                  <a:pt x="88" y="67"/>
                </a:cubicBezTo>
                <a:cubicBezTo>
                  <a:pt x="93" y="67"/>
                  <a:pt x="95" y="65"/>
                  <a:pt x="96" y="54"/>
                </a:cubicBezTo>
                <a:cubicBezTo>
                  <a:pt x="98" y="40"/>
                  <a:pt x="93" y="21"/>
                  <a:pt x="89" y="14"/>
                </a:cubicBezTo>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 name="Freeform 110"/>
          <p:cNvSpPr>
            <a:spLocks noEditPoints="1"/>
          </p:cNvSpPr>
          <p:nvPr userDrawn="1"/>
        </p:nvSpPr>
        <p:spPr bwMode="auto">
          <a:xfrm>
            <a:off x="10215750" y="5713234"/>
            <a:ext cx="529647" cy="534175"/>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 name="Freeform 108"/>
          <p:cNvSpPr>
            <a:spLocks noEditPoints="1"/>
          </p:cNvSpPr>
          <p:nvPr userDrawn="1"/>
        </p:nvSpPr>
        <p:spPr bwMode="auto">
          <a:xfrm>
            <a:off x="11565593" y="1991124"/>
            <a:ext cx="441830" cy="495545"/>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122"/>
          <p:cNvSpPr>
            <a:spLocks/>
          </p:cNvSpPr>
          <p:nvPr userDrawn="1"/>
        </p:nvSpPr>
        <p:spPr bwMode="auto">
          <a:xfrm>
            <a:off x="4818069" y="6718400"/>
            <a:ext cx="538617" cy="54318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4" name="Freeform 92"/>
          <p:cNvSpPr>
            <a:spLocks noEditPoints="1"/>
          </p:cNvSpPr>
          <p:nvPr userDrawn="1"/>
        </p:nvSpPr>
        <p:spPr bwMode="auto">
          <a:xfrm>
            <a:off x="3578334" y="2593586"/>
            <a:ext cx="253437" cy="345258"/>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27"/>
          <p:cNvSpPr>
            <a:spLocks noEditPoints="1"/>
          </p:cNvSpPr>
          <p:nvPr userDrawn="1"/>
        </p:nvSpPr>
        <p:spPr bwMode="auto">
          <a:xfrm>
            <a:off x="2745803" y="146974"/>
            <a:ext cx="656177" cy="534389"/>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137"/>
          <p:cNvSpPr>
            <a:spLocks/>
          </p:cNvSpPr>
          <p:nvPr userDrawn="1"/>
        </p:nvSpPr>
        <p:spPr bwMode="auto">
          <a:xfrm>
            <a:off x="11687702" y="1171966"/>
            <a:ext cx="729307" cy="675974"/>
          </a:xfrm>
          <a:custGeom>
            <a:avLst/>
            <a:gdLst>
              <a:gd name="T0" fmla="*/ 23 w 83"/>
              <a:gd name="T1" fmla="*/ 76 h 77"/>
              <a:gd name="T2" fmla="*/ 31 w 83"/>
              <a:gd name="T3" fmla="*/ 77 h 77"/>
              <a:gd name="T4" fmla="*/ 52 w 83"/>
              <a:gd name="T5" fmla="*/ 43 h 77"/>
              <a:gd name="T6" fmla="*/ 79 w 83"/>
              <a:gd name="T7" fmla="*/ 43 h 77"/>
              <a:gd name="T8" fmla="*/ 83 w 83"/>
              <a:gd name="T9" fmla="*/ 38 h 77"/>
              <a:gd name="T10" fmla="*/ 79 w 83"/>
              <a:gd name="T11" fmla="*/ 33 h 77"/>
              <a:gd name="T12" fmla="*/ 52 w 83"/>
              <a:gd name="T13" fmla="*/ 33 h 77"/>
              <a:gd name="T14" fmla="*/ 31 w 83"/>
              <a:gd name="T15" fmla="*/ 0 h 77"/>
              <a:gd name="T16" fmla="*/ 23 w 83"/>
              <a:gd name="T17" fmla="*/ 1 h 77"/>
              <a:gd name="T18" fmla="*/ 33 w 83"/>
              <a:gd name="T19" fmla="*/ 33 h 77"/>
              <a:gd name="T20" fmla="*/ 14 w 83"/>
              <a:gd name="T21" fmla="*/ 33 h 77"/>
              <a:gd name="T22" fmla="*/ 8 w 83"/>
              <a:gd name="T23" fmla="*/ 27 h 77"/>
              <a:gd name="T24" fmla="*/ 0 w 83"/>
              <a:gd name="T25" fmla="*/ 27 h 77"/>
              <a:gd name="T26" fmla="*/ 5 w 83"/>
              <a:gd name="T27" fmla="*/ 38 h 77"/>
              <a:gd name="T28" fmla="*/ 0 w 83"/>
              <a:gd name="T29" fmla="*/ 50 h 77"/>
              <a:gd name="T30" fmla="*/ 8 w 83"/>
              <a:gd name="T31" fmla="*/ 50 h 77"/>
              <a:gd name="T32" fmla="*/ 14 w 83"/>
              <a:gd name="T33" fmla="*/ 43 h 77"/>
              <a:gd name="T34" fmla="*/ 33 w 83"/>
              <a:gd name="T35" fmla="*/ 43 h 77"/>
              <a:gd name="T36" fmla="*/ 23 w 83"/>
              <a:gd name="T37"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77">
                <a:moveTo>
                  <a:pt x="23" y="76"/>
                </a:moveTo>
                <a:cubicBezTo>
                  <a:pt x="31" y="77"/>
                  <a:pt x="31" y="77"/>
                  <a:pt x="31" y="77"/>
                </a:cubicBezTo>
                <a:cubicBezTo>
                  <a:pt x="52" y="43"/>
                  <a:pt x="52" y="43"/>
                  <a:pt x="52" y="43"/>
                </a:cubicBezTo>
                <a:cubicBezTo>
                  <a:pt x="79" y="43"/>
                  <a:pt x="79" y="43"/>
                  <a:pt x="79" y="43"/>
                </a:cubicBezTo>
                <a:cubicBezTo>
                  <a:pt x="81" y="43"/>
                  <a:pt x="83" y="41"/>
                  <a:pt x="83" y="38"/>
                </a:cubicBezTo>
                <a:cubicBezTo>
                  <a:pt x="83" y="36"/>
                  <a:pt x="81" y="33"/>
                  <a:pt x="79" y="33"/>
                </a:cubicBezTo>
                <a:cubicBezTo>
                  <a:pt x="52" y="33"/>
                  <a:pt x="52" y="33"/>
                  <a:pt x="52" y="33"/>
                </a:cubicBezTo>
                <a:cubicBezTo>
                  <a:pt x="31" y="0"/>
                  <a:pt x="31" y="0"/>
                  <a:pt x="31" y="0"/>
                </a:cubicBezTo>
                <a:cubicBezTo>
                  <a:pt x="23" y="1"/>
                  <a:pt x="23" y="1"/>
                  <a:pt x="23" y="1"/>
                </a:cubicBezTo>
                <a:cubicBezTo>
                  <a:pt x="33" y="33"/>
                  <a:pt x="33" y="33"/>
                  <a:pt x="33" y="33"/>
                </a:cubicBezTo>
                <a:cubicBezTo>
                  <a:pt x="14" y="33"/>
                  <a:pt x="14" y="33"/>
                  <a:pt x="14" y="33"/>
                </a:cubicBezTo>
                <a:cubicBezTo>
                  <a:pt x="8" y="27"/>
                  <a:pt x="8" y="27"/>
                  <a:pt x="8" y="27"/>
                </a:cubicBezTo>
                <a:cubicBezTo>
                  <a:pt x="0" y="27"/>
                  <a:pt x="0" y="27"/>
                  <a:pt x="0" y="27"/>
                </a:cubicBezTo>
                <a:cubicBezTo>
                  <a:pt x="5" y="38"/>
                  <a:pt x="5" y="38"/>
                  <a:pt x="5" y="38"/>
                </a:cubicBezTo>
                <a:cubicBezTo>
                  <a:pt x="0" y="50"/>
                  <a:pt x="0" y="50"/>
                  <a:pt x="0" y="50"/>
                </a:cubicBezTo>
                <a:cubicBezTo>
                  <a:pt x="8" y="50"/>
                  <a:pt x="8" y="50"/>
                  <a:pt x="8" y="50"/>
                </a:cubicBezTo>
                <a:cubicBezTo>
                  <a:pt x="14" y="43"/>
                  <a:pt x="14" y="43"/>
                  <a:pt x="14" y="43"/>
                </a:cubicBezTo>
                <a:cubicBezTo>
                  <a:pt x="33" y="43"/>
                  <a:pt x="33" y="43"/>
                  <a:pt x="33" y="43"/>
                </a:cubicBezTo>
                <a:lnTo>
                  <a:pt x="23" y="76"/>
                </a:ln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16"/>
          <p:cNvSpPr>
            <a:spLocks noEditPoints="1"/>
          </p:cNvSpPr>
          <p:nvPr userDrawn="1"/>
        </p:nvSpPr>
        <p:spPr bwMode="auto">
          <a:xfrm>
            <a:off x="2428508" y="6265898"/>
            <a:ext cx="344599" cy="275060"/>
          </a:xfrm>
          <a:custGeom>
            <a:avLst/>
            <a:gdLst>
              <a:gd name="T0" fmla="*/ 50 w 72"/>
              <a:gd name="T1" fmla="*/ 35 h 57"/>
              <a:gd name="T2" fmla="*/ 36 w 72"/>
              <a:gd name="T3" fmla="*/ 21 h 57"/>
              <a:gd name="T4" fmla="*/ 22 w 72"/>
              <a:gd name="T5" fmla="*/ 35 h 57"/>
              <a:gd name="T6" fmla="*/ 36 w 72"/>
              <a:gd name="T7" fmla="*/ 49 h 57"/>
              <a:gd name="T8" fmla="*/ 50 w 72"/>
              <a:gd name="T9" fmla="*/ 35 h 57"/>
              <a:gd name="T10" fmla="*/ 15 w 72"/>
              <a:gd name="T11" fmla="*/ 20 h 57"/>
              <a:gd name="T12" fmla="*/ 12 w 72"/>
              <a:gd name="T13" fmla="*/ 17 h 57"/>
              <a:gd name="T14" fmla="*/ 8 w 72"/>
              <a:gd name="T15" fmla="*/ 20 h 57"/>
              <a:gd name="T16" fmla="*/ 12 w 72"/>
              <a:gd name="T17" fmla="*/ 23 h 57"/>
              <a:gd name="T18" fmla="*/ 15 w 72"/>
              <a:gd name="T19" fmla="*/ 20 h 57"/>
              <a:gd name="T20" fmla="*/ 72 w 72"/>
              <a:gd name="T21" fmla="*/ 18 h 57"/>
              <a:gd name="T22" fmla="*/ 72 w 72"/>
              <a:gd name="T23" fmla="*/ 49 h 57"/>
              <a:gd name="T24" fmla="*/ 63 w 72"/>
              <a:gd name="T25" fmla="*/ 57 h 57"/>
              <a:gd name="T26" fmla="*/ 8 w 72"/>
              <a:gd name="T27" fmla="*/ 57 h 57"/>
              <a:gd name="T28" fmla="*/ 0 w 72"/>
              <a:gd name="T29" fmla="*/ 49 h 57"/>
              <a:gd name="T30" fmla="*/ 0 w 72"/>
              <a:gd name="T31" fmla="*/ 18 h 57"/>
              <a:gd name="T32" fmla="*/ 8 w 72"/>
              <a:gd name="T33" fmla="*/ 9 h 57"/>
              <a:gd name="T34" fmla="*/ 21 w 72"/>
              <a:gd name="T35" fmla="*/ 9 h 57"/>
              <a:gd name="T36" fmla="*/ 23 w 72"/>
              <a:gd name="T37" fmla="*/ 5 h 57"/>
              <a:gd name="T38" fmla="*/ 30 w 72"/>
              <a:gd name="T39" fmla="*/ 0 h 57"/>
              <a:gd name="T40" fmla="*/ 42 w 72"/>
              <a:gd name="T41" fmla="*/ 0 h 57"/>
              <a:gd name="T42" fmla="*/ 49 w 72"/>
              <a:gd name="T43" fmla="*/ 5 h 57"/>
              <a:gd name="T44" fmla="*/ 50 w 72"/>
              <a:gd name="T45" fmla="*/ 9 h 57"/>
              <a:gd name="T46" fmla="*/ 63 w 72"/>
              <a:gd name="T47" fmla="*/ 9 h 57"/>
              <a:gd name="T48" fmla="*/ 72 w 72"/>
              <a:gd name="T49" fmla="*/ 18 h 57"/>
              <a:gd name="T50" fmla="*/ 45 w 72"/>
              <a:gd name="T51" fmla="*/ 35 h 57"/>
              <a:gd name="T52" fmla="*/ 36 w 72"/>
              <a:gd name="T53" fmla="*/ 44 h 57"/>
              <a:gd name="T54" fmla="*/ 27 w 72"/>
              <a:gd name="T55" fmla="*/ 35 h 57"/>
              <a:gd name="T56" fmla="*/ 36 w 72"/>
              <a:gd name="T57" fmla="*/ 26 h 57"/>
              <a:gd name="T58" fmla="*/ 45 w 72"/>
              <a:gd name="T5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57">
                <a:moveTo>
                  <a:pt x="50" y="35"/>
                </a:moveTo>
                <a:cubicBezTo>
                  <a:pt x="50" y="27"/>
                  <a:pt x="43" y="21"/>
                  <a:pt x="36" y="21"/>
                </a:cubicBezTo>
                <a:cubicBezTo>
                  <a:pt x="28" y="21"/>
                  <a:pt x="22" y="27"/>
                  <a:pt x="22" y="35"/>
                </a:cubicBezTo>
                <a:cubicBezTo>
                  <a:pt x="22" y="43"/>
                  <a:pt x="28" y="49"/>
                  <a:pt x="36" y="49"/>
                </a:cubicBezTo>
                <a:cubicBezTo>
                  <a:pt x="43" y="49"/>
                  <a:pt x="50" y="43"/>
                  <a:pt x="50" y="35"/>
                </a:cubicBezTo>
                <a:moveTo>
                  <a:pt x="15" y="20"/>
                </a:moveTo>
                <a:cubicBezTo>
                  <a:pt x="15" y="18"/>
                  <a:pt x="13" y="17"/>
                  <a:pt x="12" y="17"/>
                </a:cubicBezTo>
                <a:cubicBezTo>
                  <a:pt x="10" y="17"/>
                  <a:pt x="8" y="18"/>
                  <a:pt x="8" y="20"/>
                </a:cubicBezTo>
                <a:cubicBezTo>
                  <a:pt x="8" y="22"/>
                  <a:pt x="10" y="23"/>
                  <a:pt x="12" y="23"/>
                </a:cubicBezTo>
                <a:cubicBezTo>
                  <a:pt x="13" y="23"/>
                  <a:pt x="15" y="22"/>
                  <a:pt x="15" y="20"/>
                </a:cubicBezTo>
                <a:moveTo>
                  <a:pt x="72" y="18"/>
                </a:moveTo>
                <a:cubicBezTo>
                  <a:pt x="72" y="49"/>
                  <a:pt x="72" y="49"/>
                  <a:pt x="72" y="49"/>
                </a:cubicBezTo>
                <a:cubicBezTo>
                  <a:pt x="72" y="53"/>
                  <a:pt x="68" y="57"/>
                  <a:pt x="63" y="57"/>
                </a:cubicBezTo>
                <a:cubicBezTo>
                  <a:pt x="8" y="57"/>
                  <a:pt x="8" y="57"/>
                  <a:pt x="8" y="57"/>
                </a:cubicBezTo>
                <a:cubicBezTo>
                  <a:pt x="4" y="57"/>
                  <a:pt x="0" y="53"/>
                  <a:pt x="0" y="49"/>
                </a:cubicBezTo>
                <a:cubicBezTo>
                  <a:pt x="0" y="18"/>
                  <a:pt x="0" y="18"/>
                  <a:pt x="0" y="18"/>
                </a:cubicBezTo>
                <a:cubicBezTo>
                  <a:pt x="0" y="13"/>
                  <a:pt x="4" y="9"/>
                  <a:pt x="8" y="9"/>
                </a:cubicBezTo>
                <a:cubicBezTo>
                  <a:pt x="21" y="9"/>
                  <a:pt x="21" y="9"/>
                  <a:pt x="21" y="9"/>
                </a:cubicBezTo>
                <a:cubicBezTo>
                  <a:pt x="23" y="5"/>
                  <a:pt x="23" y="5"/>
                  <a:pt x="23" y="5"/>
                </a:cubicBezTo>
                <a:cubicBezTo>
                  <a:pt x="24" y="2"/>
                  <a:pt x="27" y="0"/>
                  <a:pt x="30" y="0"/>
                </a:cubicBezTo>
                <a:cubicBezTo>
                  <a:pt x="42" y="0"/>
                  <a:pt x="42" y="0"/>
                  <a:pt x="42" y="0"/>
                </a:cubicBezTo>
                <a:cubicBezTo>
                  <a:pt x="45" y="0"/>
                  <a:pt x="48" y="2"/>
                  <a:pt x="49" y="5"/>
                </a:cubicBezTo>
                <a:cubicBezTo>
                  <a:pt x="50" y="9"/>
                  <a:pt x="50" y="9"/>
                  <a:pt x="50" y="9"/>
                </a:cubicBezTo>
                <a:cubicBezTo>
                  <a:pt x="63" y="9"/>
                  <a:pt x="63" y="9"/>
                  <a:pt x="63" y="9"/>
                </a:cubicBezTo>
                <a:cubicBezTo>
                  <a:pt x="68" y="9"/>
                  <a:pt x="72" y="13"/>
                  <a:pt x="72" y="18"/>
                </a:cubicBezTo>
                <a:moveTo>
                  <a:pt x="45" y="35"/>
                </a:moveTo>
                <a:cubicBezTo>
                  <a:pt x="45" y="40"/>
                  <a:pt x="41" y="44"/>
                  <a:pt x="36" y="44"/>
                </a:cubicBezTo>
                <a:cubicBezTo>
                  <a:pt x="31" y="44"/>
                  <a:pt x="27" y="40"/>
                  <a:pt x="27" y="35"/>
                </a:cubicBezTo>
                <a:cubicBezTo>
                  <a:pt x="27" y="30"/>
                  <a:pt x="31" y="26"/>
                  <a:pt x="36" y="26"/>
                </a:cubicBezTo>
                <a:cubicBezTo>
                  <a:pt x="41" y="26"/>
                  <a:pt x="45" y="30"/>
                  <a:pt x="45" y="35"/>
                </a:cubicBezTo>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8" name="Freeform 79"/>
          <p:cNvSpPr>
            <a:spLocks noChangeAspect="1" noEditPoints="1"/>
          </p:cNvSpPr>
          <p:nvPr userDrawn="1"/>
        </p:nvSpPr>
        <p:spPr bwMode="black">
          <a:xfrm>
            <a:off x="11814253" y="5013448"/>
            <a:ext cx="393830" cy="488633"/>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33"/>
          <p:cNvSpPr>
            <a:spLocks noChangeAspect="1" noEditPoints="1"/>
          </p:cNvSpPr>
          <p:nvPr userDrawn="1"/>
        </p:nvSpPr>
        <p:spPr bwMode="black">
          <a:xfrm>
            <a:off x="10794438" y="2842688"/>
            <a:ext cx="588069" cy="589062"/>
          </a:xfrm>
          <a:custGeom>
            <a:avLst/>
            <a:gdLst>
              <a:gd name="T0" fmla="*/ 902 w 1099"/>
              <a:gd name="T1" fmla="*/ 0 h 1099"/>
              <a:gd name="T2" fmla="*/ 197 w 1099"/>
              <a:gd name="T3" fmla="*/ 0 h 1099"/>
              <a:gd name="T4" fmla="*/ 0 w 1099"/>
              <a:gd name="T5" fmla="*/ 197 h 1099"/>
              <a:gd name="T6" fmla="*/ 0 w 1099"/>
              <a:gd name="T7" fmla="*/ 902 h 1099"/>
              <a:gd name="T8" fmla="*/ 197 w 1099"/>
              <a:gd name="T9" fmla="*/ 1099 h 1099"/>
              <a:gd name="T10" fmla="*/ 902 w 1099"/>
              <a:gd name="T11" fmla="*/ 1099 h 1099"/>
              <a:gd name="T12" fmla="*/ 1099 w 1099"/>
              <a:gd name="T13" fmla="*/ 902 h 1099"/>
              <a:gd name="T14" fmla="*/ 1099 w 1099"/>
              <a:gd name="T15" fmla="*/ 197 h 1099"/>
              <a:gd name="T16" fmla="*/ 902 w 1099"/>
              <a:gd name="T17" fmla="*/ 0 h 1099"/>
              <a:gd name="T18" fmla="*/ 932 w 1099"/>
              <a:gd name="T19" fmla="*/ 285 h 1099"/>
              <a:gd name="T20" fmla="*/ 859 w 1099"/>
              <a:gd name="T21" fmla="*/ 285 h 1099"/>
              <a:gd name="T22" fmla="*/ 793 w 1099"/>
              <a:gd name="T23" fmla="*/ 351 h 1099"/>
              <a:gd name="T24" fmla="*/ 793 w 1099"/>
              <a:gd name="T25" fmla="*/ 400 h 1099"/>
              <a:gd name="T26" fmla="*/ 932 w 1099"/>
              <a:gd name="T27" fmla="*/ 400 h 1099"/>
              <a:gd name="T28" fmla="*/ 932 w 1099"/>
              <a:gd name="T29" fmla="*/ 550 h 1099"/>
              <a:gd name="T30" fmla="*/ 793 w 1099"/>
              <a:gd name="T31" fmla="*/ 550 h 1099"/>
              <a:gd name="T32" fmla="*/ 793 w 1099"/>
              <a:gd name="T33" fmla="*/ 1010 h 1099"/>
              <a:gd name="T34" fmla="*/ 596 w 1099"/>
              <a:gd name="T35" fmla="*/ 1010 h 1099"/>
              <a:gd name="T36" fmla="*/ 596 w 1099"/>
              <a:gd name="T37" fmla="*/ 550 h 1099"/>
              <a:gd name="T38" fmla="*/ 470 w 1099"/>
              <a:gd name="T39" fmla="*/ 550 h 1099"/>
              <a:gd name="T40" fmla="*/ 470 w 1099"/>
              <a:gd name="T41" fmla="*/ 400 h 1099"/>
              <a:gd name="T42" fmla="*/ 596 w 1099"/>
              <a:gd name="T43" fmla="*/ 400 h 1099"/>
              <a:gd name="T44" fmla="*/ 596 w 1099"/>
              <a:gd name="T45" fmla="*/ 311 h 1099"/>
              <a:gd name="T46" fmla="*/ 772 w 1099"/>
              <a:gd name="T47" fmla="*/ 135 h 1099"/>
              <a:gd name="T48" fmla="*/ 932 w 1099"/>
              <a:gd name="T49" fmla="*/ 135 h 1099"/>
              <a:gd name="T50" fmla="*/ 932 w 1099"/>
              <a:gd name="T51" fmla="*/ 285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99" h="1099">
                <a:moveTo>
                  <a:pt x="902" y="0"/>
                </a:moveTo>
                <a:cubicBezTo>
                  <a:pt x="197" y="0"/>
                  <a:pt x="197" y="0"/>
                  <a:pt x="197" y="0"/>
                </a:cubicBezTo>
                <a:cubicBezTo>
                  <a:pt x="88" y="0"/>
                  <a:pt x="0" y="88"/>
                  <a:pt x="0" y="197"/>
                </a:cubicBezTo>
                <a:cubicBezTo>
                  <a:pt x="0" y="902"/>
                  <a:pt x="0" y="902"/>
                  <a:pt x="0" y="902"/>
                </a:cubicBezTo>
                <a:cubicBezTo>
                  <a:pt x="0" y="1010"/>
                  <a:pt x="88" y="1099"/>
                  <a:pt x="197" y="1099"/>
                </a:cubicBezTo>
                <a:cubicBezTo>
                  <a:pt x="902" y="1099"/>
                  <a:pt x="902" y="1099"/>
                  <a:pt x="902" y="1099"/>
                </a:cubicBezTo>
                <a:cubicBezTo>
                  <a:pt x="1010" y="1099"/>
                  <a:pt x="1099" y="1010"/>
                  <a:pt x="1099" y="902"/>
                </a:cubicBezTo>
                <a:cubicBezTo>
                  <a:pt x="1099" y="197"/>
                  <a:pt x="1099" y="197"/>
                  <a:pt x="1099" y="197"/>
                </a:cubicBezTo>
                <a:cubicBezTo>
                  <a:pt x="1099" y="88"/>
                  <a:pt x="1010" y="0"/>
                  <a:pt x="902" y="0"/>
                </a:cubicBezTo>
                <a:close/>
                <a:moveTo>
                  <a:pt x="932" y="285"/>
                </a:moveTo>
                <a:cubicBezTo>
                  <a:pt x="932" y="285"/>
                  <a:pt x="932" y="285"/>
                  <a:pt x="859" y="285"/>
                </a:cubicBezTo>
                <a:cubicBezTo>
                  <a:pt x="822" y="285"/>
                  <a:pt x="793" y="314"/>
                  <a:pt x="793" y="351"/>
                </a:cubicBezTo>
                <a:cubicBezTo>
                  <a:pt x="793" y="351"/>
                  <a:pt x="793" y="351"/>
                  <a:pt x="793" y="400"/>
                </a:cubicBezTo>
                <a:cubicBezTo>
                  <a:pt x="793" y="400"/>
                  <a:pt x="793" y="400"/>
                  <a:pt x="932" y="400"/>
                </a:cubicBezTo>
                <a:cubicBezTo>
                  <a:pt x="932" y="400"/>
                  <a:pt x="932" y="400"/>
                  <a:pt x="932" y="550"/>
                </a:cubicBezTo>
                <a:cubicBezTo>
                  <a:pt x="932" y="550"/>
                  <a:pt x="932" y="550"/>
                  <a:pt x="793" y="550"/>
                </a:cubicBezTo>
                <a:cubicBezTo>
                  <a:pt x="793" y="550"/>
                  <a:pt x="793" y="550"/>
                  <a:pt x="793" y="1010"/>
                </a:cubicBezTo>
                <a:cubicBezTo>
                  <a:pt x="793" y="1010"/>
                  <a:pt x="793" y="1010"/>
                  <a:pt x="596" y="1010"/>
                </a:cubicBezTo>
                <a:cubicBezTo>
                  <a:pt x="596" y="1010"/>
                  <a:pt x="596" y="1010"/>
                  <a:pt x="596" y="550"/>
                </a:cubicBezTo>
                <a:cubicBezTo>
                  <a:pt x="596" y="550"/>
                  <a:pt x="596" y="550"/>
                  <a:pt x="470" y="550"/>
                </a:cubicBezTo>
                <a:cubicBezTo>
                  <a:pt x="470" y="550"/>
                  <a:pt x="470" y="550"/>
                  <a:pt x="470" y="400"/>
                </a:cubicBezTo>
                <a:cubicBezTo>
                  <a:pt x="470" y="400"/>
                  <a:pt x="470" y="400"/>
                  <a:pt x="596" y="400"/>
                </a:cubicBezTo>
                <a:cubicBezTo>
                  <a:pt x="596" y="400"/>
                  <a:pt x="596" y="400"/>
                  <a:pt x="596" y="311"/>
                </a:cubicBezTo>
                <a:cubicBezTo>
                  <a:pt x="596" y="214"/>
                  <a:pt x="675" y="135"/>
                  <a:pt x="772" y="135"/>
                </a:cubicBezTo>
                <a:cubicBezTo>
                  <a:pt x="772" y="135"/>
                  <a:pt x="772" y="135"/>
                  <a:pt x="932" y="135"/>
                </a:cubicBezTo>
                <a:cubicBezTo>
                  <a:pt x="932" y="135"/>
                  <a:pt x="932" y="135"/>
                  <a:pt x="932" y="285"/>
                </a:cubicBez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7"/>
          <p:cNvSpPr>
            <a:spLocks noChangeAspect="1" noEditPoints="1"/>
          </p:cNvSpPr>
          <p:nvPr userDrawn="1"/>
        </p:nvSpPr>
        <p:spPr bwMode="black">
          <a:xfrm>
            <a:off x="8071362" y="1365932"/>
            <a:ext cx="511497" cy="490665"/>
          </a:xfrm>
          <a:custGeom>
            <a:avLst/>
            <a:gdLst>
              <a:gd name="T0" fmla="*/ 169 w 459"/>
              <a:gd name="T1" fmla="*/ 64 h 440"/>
              <a:gd name="T2" fmla="*/ 275 w 459"/>
              <a:gd name="T3" fmla="*/ 169 h 440"/>
              <a:gd name="T4" fmla="*/ 169 w 459"/>
              <a:gd name="T5" fmla="*/ 275 h 440"/>
              <a:gd name="T6" fmla="*/ 64 w 459"/>
              <a:gd name="T7" fmla="*/ 169 h 440"/>
              <a:gd name="T8" fmla="*/ 169 w 459"/>
              <a:gd name="T9" fmla="*/ 64 h 440"/>
              <a:gd name="T10" fmla="*/ 169 w 459"/>
              <a:gd name="T11" fmla="*/ 0 h 440"/>
              <a:gd name="T12" fmla="*/ 0 w 459"/>
              <a:gd name="T13" fmla="*/ 169 h 440"/>
              <a:gd name="T14" fmla="*/ 169 w 459"/>
              <a:gd name="T15" fmla="*/ 339 h 440"/>
              <a:gd name="T16" fmla="*/ 279 w 459"/>
              <a:gd name="T17" fmla="*/ 299 h 440"/>
              <a:gd name="T18" fmla="*/ 410 w 459"/>
              <a:gd name="T19" fmla="*/ 430 h 440"/>
              <a:gd name="T20" fmla="*/ 449 w 459"/>
              <a:gd name="T21" fmla="*/ 430 h 440"/>
              <a:gd name="T22" fmla="*/ 449 w 459"/>
              <a:gd name="T23" fmla="*/ 430 h 440"/>
              <a:gd name="T24" fmla="*/ 449 w 459"/>
              <a:gd name="T25" fmla="*/ 391 h 440"/>
              <a:gd name="T26" fmla="*/ 314 w 459"/>
              <a:gd name="T27" fmla="*/ 257 h 440"/>
              <a:gd name="T28" fmla="*/ 339 w 459"/>
              <a:gd name="T29" fmla="*/ 169 h 440"/>
              <a:gd name="T30" fmla="*/ 169 w 459"/>
              <a:gd name="T31" fmla="*/ 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9" h="440">
                <a:moveTo>
                  <a:pt x="169" y="64"/>
                </a:moveTo>
                <a:cubicBezTo>
                  <a:pt x="228" y="64"/>
                  <a:pt x="275" y="111"/>
                  <a:pt x="275" y="169"/>
                </a:cubicBezTo>
                <a:cubicBezTo>
                  <a:pt x="275" y="227"/>
                  <a:pt x="228" y="275"/>
                  <a:pt x="169" y="275"/>
                </a:cubicBezTo>
                <a:cubicBezTo>
                  <a:pt x="111" y="275"/>
                  <a:pt x="64" y="227"/>
                  <a:pt x="64" y="169"/>
                </a:cubicBezTo>
                <a:cubicBezTo>
                  <a:pt x="64" y="111"/>
                  <a:pt x="111" y="64"/>
                  <a:pt x="169" y="64"/>
                </a:cubicBezTo>
                <a:close/>
                <a:moveTo>
                  <a:pt x="169" y="0"/>
                </a:moveTo>
                <a:cubicBezTo>
                  <a:pt x="76" y="0"/>
                  <a:pt x="0" y="76"/>
                  <a:pt x="0" y="169"/>
                </a:cubicBezTo>
                <a:cubicBezTo>
                  <a:pt x="0" y="263"/>
                  <a:pt x="76" y="339"/>
                  <a:pt x="169" y="339"/>
                </a:cubicBezTo>
                <a:cubicBezTo>
                  <a:pt x="211" y="339"/>
                  <a:pt x="249" y="324"/>
                  <a:pt x="279" y="299"/>
                </a:cubicBezTo>
                <a:cubicBezTo>
                  <a:pt x="410" y="430"/>
                  <a:pt x="410" y="430"/>
                  <a:pt x="410" y="430"/>
                </a:cubicBezTo>
                <a:cubicBezTo>
                  <a:pt x="421" y="440"/>
                  <a:pt x="438" y="440"/>
                  <a:pt x="449" y="430"/>
                </a:cubicBezTo>
                <a:cubicBezTo>
                  <a:pt x="449" y="430"/>
                  <a:pt x="449" y="430"/>
                  <a:pt x="449" y="430"/>
                </a:cubicBezTo>
                <a:cubicBezTo>
                  <a:pt x="459" y="419"/>
                  <a:pt x="459" y="402"/>
                  <a:pt x="449" y="391"/>
                </a:cubicBezTo>
                <a:cubicBezTo>
                  <a:pt x="314" y="257"/>
                  <a:pt x="314" y="257"/>
                  <a:pt x="314" y="257"/>
                </a:cubicBezTo>
                <a:cubicBezTo>
                  <a:pt x="330" y="232"/>
                  <a:pt x="339" y="201"/>
                  <a:pt x="339" y="169"/>
                </a:cubicBezTo>
                <a:cubicBezTo>
                  <a:pt x="339" y="76"/>
                  <a:pt x="263" y="0"/>
                  <a:pt x="169"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1" name="Group 20"/>
          <p:cNvGrpSpPr/>
          <p:nvPr userDrawn="1"/>
        </p:nvGrpSpPr>
        <p:grpSpPr>
          <a:xfrm>
            <a:off x="7321932" y="5889128"/>
            <a:ext cx="472705" cy="454953"/>
            <a:chOff x="3820368" y="7357289"/>
            <a:chExt cx="231250" cy="222597"/>
          </a:xfrm>
          <a:solidFill>
            <a:schemeClr val="bg1">
              <a:lumMod val="85000"/>
            </a:schemeClr>
          </a:solidFill>
        </p:grpSpPr>
        <p:sp>
          <p:nvSpPr>
            <p:cNvPr id="22" name="Rectangle 21"/>
            <p:cNvSpPr/>
            <p:nvPr/>
          </p:nvSpPr>
          <p:spPr bwMode="auto">
            <a:xfrm>
              <a:off x="3820368" y="7409706"/>
              <a:ext cx="65321" cy="1701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3" name="Rectangle 22"/>
            <p:cNvSpPr/>
            <p:nvPr/>
          </p:nvSpPr>
          <p:spPr bwMode="auto">
            <a:xfrm>
              <a:off x="3903333" y="7357289"/>
              <a:ext cx="65321" cy="2225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3986297" y="7469723"/>
              <a:ext cx="65321" cy="11016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25" name="Freeform 24"/>
          <p:cNvSpPr/>
          <p:nvPr userDrawn="1"/>
        </p:nvSpPr>
        <p:spPr bwMode="auto">
          <a:xfrm rot="10800000">
            <a:off x="4369262" y="1087203"/>
            <a:ext cx="473701" cy="575517"/>
          </a:xfrm>
          <a:custGeom>
            <a:avLst/>
            <a:gdLst>
              <a:gd name="connsiteX0" fmla="*/ 487791 w 975584"/>
              <a:gd name="connsiteY0" fmla="*/ 929204 h 1185453"/>
              <a:gd name="connsiteX1" fmla="*/ 734193 w 975584"/>
              <a:gd name="connsiteY1" fmla="*/ 682802 h 1185453"/>
              <a:gd name="connsiteX2" fmla="*/ 487791 w 975584"/>
              <a:gd name="connsiteY2" fmla="*/ 436400 h 1185453"/>
              <a:gd name="connsiteX3" fmla="*/ 241389 w 975584"/>
              <a:gd name="connsiteY3" fmla="*/ 682802 h 1185453"/>
              <a:gd name="connsiteX4" fmla="*/ 487791 w 975584"/>
              <a:gd name="connsiteY4" fmla="*/ 929204 h 1185453"/>
              <a:gd name="connsiteX5" fmla="*/ 487792 w 975584"/>
              <a:gd name="connsiteY5" fmla="*/ 1185453 h 1185453"/>
              <a:gd name="connsiteX6" fmla="*/ 0 w 975584"/>
              <a:gd name="connsiteY6" fmla="*/ 697661 h 1185453"/>
              <a:gd name="connsiteX7" fmla="*/ 83307 w 975584"/>
              <a:gd name="connsiteY7" fmla="*/ 424932 h 1185453"/>
              <a:gd name="connsiteX8" fmla="*/ 116543 w 975584"/>
              <a:gd name="connsiteY8" fmla="*/ 384650 h 1185453"/>
              <a:gd name="connsiteX9" fmla="*/ 113120 w 975584"/>
              <a:gd name="connsiteY9" fmla="*/ 384650 h 1185453"/>
              <a:gd name="connsiteX10" fmla="*/ 135499 w 975584"/>
              <a:gd name="connsiteY10" fmla="*/ 361676 h 1185453"/>
              <a:gd name="connsiteX11" fmla="*/ 142871 w 975584"/>
              <a:gd name="connsiteY11" fmla="*/ 352740 h 1185453"/>
              <a:gd name="connsiteX12" fmla="*/ 149652 w 975584"/>
              <a:gd name="connsiteY12" fmla="*/ 347146 h 1185453"/>
              <a:gd name="connsiteX13" fmla="*/ 487792 w 975584"/>
              <a:gd name="connsiteY13" fmla="*/ 0 h 1185453"/>
              <a:gd name="connsiteX14" fmla="*/ 825932 w 975584"/>
              <a:gd name="connsiteY14" fmla="*/ 347146 h 1185453"/>
              <a:gd name="connsiteX15" fmla="*/ 832713 w 975584"/>
              <a:gd name="connsiteY15" fmla="*/ 352740 h 1185453"/>
              <a:gd name="connsiteX16" fmla="*/ 840085 w 975584"/>
              <a:gd name="connsiteY16" fmla="*/ 361676 h 1185453"/>
              <a:gd name="connsiteX17" fmla="*/ 862464 w 975584"/>
              <a:gd name="connsiteY17" fmla="*/ 384650 h 1185453"/>
              <a:gd name="connsiteX18" fmla="*/ 859041 w 975584"/>
              <a:gd name="connsiteY18" fmla="*/ 384650 h 1185453"/>
              <a:gd name="connsiteX19" fmla="*/ 892277 w 975584"/>
              <a:gd name="connsiteY19" fmla="*/ 424932 h 1185453"/>
              <a:gd name="connsiteX20" fmla="*/ 975584 w 975584"/>
              <a:gd name="connsiteY20" fmla="*/ 697661 h 1185453"/>
              <a:gd name="connsiteX21" fmla="*/ 487792 w 975584"/>
              <a:gd name="connsiteY21" fmla="*/ 1185453 h 118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5584" h="1185453">
                <a:moveTo>
                  <a:pt x="487791" y="929204"/>
                </a:moveTo>
                <a:cubicBezTo>
                  <a:pt x="623875" y="929204"/>
                  <a:pt x="734193" y="818886"/>
                  <a:pt x="734193" y="682802"/>
                </a:cubicBezTo>
                <a:cubicBezTo>
                  <a:pt x="734193" y="546718"/>
                  <a:pt x="623875" y="436400"/>
                  <a:pt x="487791" y="436400"/>
                </a:cubicBezTo>
                <a:cubicBezTo>
                  <a:pt x="351707" y="436400"/>
                  <a:pt x="241389" y="546718"/>
                  <a:pt x="241389" y="682802"/>
                </a:cubicBezTo>
                <a:cubicBezTo>
                  <a:pt x="241389" y="818886"/>
                  <a:pt x="351707" y="929204"/>
                  <a:pt x="487791" y="929204"/>
                </a:cubicBezTo>
                <a:close/>
                <a:moveTo>
                  <a:pt x="487792" y="1185453"/>
                </a:moveTo>
                <a:cubicBezTo>
                  <a:pt x="218392" y="1185453"/>
                  <a:pt x="0" y="967061"/>
                  <a:pt x="0" y="697661"/>
                </a:cubicBezTo>
                <a:cubicBezTo>
                  <a:pt x="0" y="596636"/>
                  <a:pt x="30711" y="502784"/>
                  <a:pt x="83307" y="424932"/>
                </a:cubicBezTo>
                <a:lnTo>
                  <a:pt x="116543" y="384650"/>
                </a:lnTo>
                <a:lnTo>
                  <a:pt x="113120" y="384650"/>
                </a:lnTo>
                <a:lnTo>
                  <a:pt x="135499" y="361676"/>
                </a:lnTo>
                <a:lnTo>
                  <a:pt x="142871" y="352740"/>
                </a:lnTo>
                <a:lnTo>
                  <a:pt x="149652" y="347146"/>
                </a:lnTo>
                <a:lnTo>
                  <a:pt x="487792" y="0"/>
                </a:lnTo>
                <a:lnTo>
                  <a:pt x="825932" y="347146"/>
                </a:lnTo>
                <a:lnTo>
                  <a:pt x="832713" y="352740"/>
                </a:lnTo>
                <a:lnTo>
                  <a:pt x="840085" y="361676"/>
                </a:lnTo>
                <a:lnTo>
                  <a:pt x="862464" y="384650"/>
                </a:lnTo>
                <a:lnTo>
                  <a:pt x="859041" y="384650"/>
                </a:lnTo>
                <a:lnTo>
                  <a:pt x="892277" y="424932"/>
                </a:lnTo>
                <a:cubicBezTo>
                  <a:pt x="944873" y="502784"/>
                  <a:pt x="975584" y="596636"/>
                  <a:pt x="975584" y="697661"/>
                </a:cubicBezTo>
                <a:cubicBezTo>
                  <a:pt x="975584" y="967061"/>
                  <a:pt x="757192" y="1185453"/>
                  <a:pt x="487792" y="1185453"/>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p:cNvGrpSpPr/>
          <p:nvPr userDrawn="1"/>
        </p:nvGrpSpPr>
        <p:grpSpPr>
          <a:xfrm>
            <a:off x="10451629" y="6690218"/>
            <a:ext cx="930877" cy="262700"/>
            <a:chOff x="-3915634" y="3840359"/>
            <a:chExt cx="3627209" cy="1023767"/>
          </a:xfrm>
          <a:solidFill>
            <a:schemeClr val="bg1">
              <a:lumMod val="85000"/>
            </a:schemeClr>
          </a:solidFill>
        </p:grpSpPr>
        <p:sp>
          <p:nvSpPr>
            <p:cNvPr id="27" name="Freeform 26"/>
            <p:cNvSpPr>
              <a:spLocks noChangeArrowheads="1"/>
            </p:cNvSpPr>
            <p:nvPr/>
          </p:nvSpPr>
          <p:spPr bwMode="auto">
            <a:xfrm>
              <a:off x="-3915634" y="3840359"/>
              <a:ext cx="3627209" cy="1023767"/>
            </a:xfrm>
            <a:custGeom>
              <a:avLst/>
              <a:gdLst>
                <a:gd name="connsiteX0" fmla="*/ 456216 w 3627209"/>
                <a:gd name="connsiteY0" fmla="*/ 90117 h 1023767"/>
                <a:gd name="connsiteX1" fmla="*/ 236554 w 3627209"/>
                <a:gd name="connsiteY1" fmla="*/ 321039 h 1023767"/>
                <a:gd name="connsiteX2" fmla="*/ 456216 w 3627209"/>
                <a:gd name="connsiteY2" fmla="*/ 551961 h 1023767"/>
                <a:gd name="connsiteX3" fmla="*/ 675878 w 3627209"/>
                <a:gd name="connsiteY3" fmla="*/ 321039 h 1023767"/>
                <a:gd name="connsiteX4" fmla="*/ 456216 w 3627209"/>
                <a:gd name="connsiteY4" fmla="*/ 90117 h 1023767"/>
                <a:gd name="connsiteX5" fmla="*/ 0 w 3627209"/>
                <a:gd name="connsiteY5" fmla="*/ 0 h 1023767"/>
                <a:gd name="connsiteX6" fmla="*/ 3627209 w 3627209"/>
                <a:gd name="connsiteY6" fmla="*/ 0 h 1023767"/>
                <a:gd name="connsiteX7" fmla="*/ 3627209 w 3627209"/>
                <a:gd name="connsiteY7" fmla="*/ 630809 h 1023767"/>
                <a:gd name="connsiteX8" fmla="*/ 3627209 w 3627209"/>
                <a:gd name="connsiteY8" fmla="*/ 630817 h 1023767"/>
                <a:gd name="connsiteX9" fmla="*/ 3627206 w 3627209"/>
                <a:gd name="connsiteY9" fmla="*/ 630817 h 1023767"/>
                <a:gd name="connsiteX10" fmla="*/ 3593415 w 3627209"/>
                <a:gd name="connsiteY10" fmla="*/ 723132 h 1023767"/>
                <a:gd name="connsiteX11" fmla="*/ 2613392 w 3627209"/>
                <a:gd name="connsiteY11" fmla="*/ 723132 h 1023767"/>
                <a:gd name="connsiteX12" fmla="*/ 2613392 w 3627209"/>
                <a:gd name="connsiteY12" fmla="*/ 832273 h 1023767"/>
                <a:gd name="connsiteX13" fmla="*/ 3627209 w 3627209"/>
                <a:gd name="connsiteY13" fmla="*/ 832273 h 1023767"/>
                <a:gd name="connsiteX14" fmla="*/ 3627209 w 3627209"/>
                <a:gd name="connsiteY14" fmla="*/ 1023767 h 1023767"/>
                <a:gd name="connsiteX15" fmla="*/ 0 w 3627209"/>
                <a:gd name="connsiteY15" fmla="*/ 1023767 h 1023767"/>
                <a:gd name="connsiteX16" fmla="*/ 0 w 3627209"/>
                <a:gd name="connsiteY16" fmla="*/ 832273 h 1023767"/>
                <a:gd name="connsiteX17" fmla="*/ 1025077 w 3627209"/>
                <a:gd name="connsiteY17" fmla="*/ 832273 h 1023767"/>
                <a:gd name="connsiteX18" fmla="*/ 1025077 w 3627209"/>
                <a:gd name="connsiteY18" fmla="*/ 723132 h 1023767"/>
                <a:gd name="connsiteX19" fmla="*/ 33794 w 3627209"/>
                <a:gd name="connsiteY19" fmla="*/ 723132 h 1023767"/>
                <a:gd name="connsiteX20" fmla="*/ 3 w 3627209"/>
                <a:gd name="connsiteY20" fmla="*/ 630817 h 1023767"/>
                <a:gd name="connsiteX21" fmla="*/ 0 w 3627209"/>
                <a:gd name="connsiteY21" fmla="*/ 630817 h 1023767"/>
                <a:gd name="connsiteX22" fmla="*/ 0 w 3627209"/>
                <a:gd name="connsiteY22" fmla="*/ 630809 h 102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27209" h="1023767">
                  <a:moveTo>
                    <a:pt x="456216" y="90117"/>
                  </a:moveTo>
                  <a:cubicBezTo>
                    <a:pt x="334900" y="90117"/>
                    <a:pt x="236554" y="193504"/>
                    <a:pt x="236554" y="321039"/>
                  </a:cubicBezTo>
                  <a:cubicBezTo>
                    <a:pt x="236554" y="448574"/>
                    <a:pt x="334900" y="551961"/>
                    <a:pt x="456216" y="551961"/>
                  </a:cubicBezTo>
                  <a:cubicBezTo>
                    <a:pt x="577532" y="551961"/>
                    <a:pt x="675878" y="448574"/>
                    <a:pt x="675878" y="321039"/>
                  </a:cubicBezTo>
                  <a:cubicBezTo>
                    <a:pt x="675878" y="193504"/>
                    <a:pt x="577532" y="90117"/>
                    <a:pt x="456216" y="90117"/>
                  </a:cubicBezTo>
                  <a:close/>
                  <a:moveTo>
                    <a:pt x="0" y="0"/>
                  </a:moveTo>
                  <a:lnTo>
                    <a:pt x="3627209" y="0"/>
                  </a:lnTo>
                  <a:lnTo>
                    <a:pt x="3627209" y="630809"/>
                  </a:lnTo>
                  <a:lnTo>
                    <a:pt x="3627209" y="630817"/>
                  </a:lnTo>
                  <a:lnTo>
                    <a:pt x="3627206" y="630817"/>
                  </a:lnTo>
                  <a:lnTo>
                    <a:pt x="3593415" y="723132"/>
                  </a:lnTo>
                  <a:lnTo>
                    <a:pt x="2613392" y="723132"/>
                  </a:lnTo>
                  <a:lnTo>
                    <a:pt x="2613392" y="832273"/>
                  </a:lnTo>
                  <a:lnTo>
                    <a:pt x="3627209" y="832273"/>
                  </a:lnTo>
                  <a:lnTo>
                    <a:pt x="3627209" y="1023767"/>
                  </a:lnTo>
                  <a:lnTo>
                    <a:pt x="0" y="1023767"/>
                  </a:lnTo>
                  <a:lnTo>
                    <a:pt x="0" y="832273"/>
                  </a:lnTo>
                  <a:lnTo>
                    <a:pt x="1025077" y="832273"/>
                  </a:lnTo>
                  <a:lnTo>
                    <a:pt x="1025077" y="723132"/>
                  </a:lnTo>
                  <a:lnTo>
                    <a:pt x="33794" y="723132"/>
                  </a:lnTo>
                  <a:lnTo>
                    <a:pt x="3" y="630817"/>
                  </a:lnTo>
                  <a:lnTo>
                    <a:pt x="0" y="630817"/>
                  </a:lnTo>
                  <a:lnTo>
                    <a:pt x="0" y="63080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8" name="Oval 13"/>
            <p:cNvSpPr>
              <a:spLocks noChangeArrowheads="1"/>
            </p:cNvSpPr>
            <p:nvPr/>
          </p:nvSpPr>
          <p:spPr bwMode="auto">
            <a:xfrm>
              <a:off x="-3566434" y="4043122"/>
              <a:ext cx="214031" cy="225292"/>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29" name="Group 28"/>
          <p:cNvGrpSpPr/>
          <p:nvPr userDrawn="1"/>
        </p:nvGrpSpPr>
        <p:grpSpPr>
          <a:xfrm>
            <a:off x="10211608" y="3962914"/>
            <a:ext cx="386005" cy="412430"/>
            <a:chOff x="3658994" y="3425683"/>
            <a:chExt cx="1594151" cy="1703530"/>
          </a:xfrm>
          <a:solidFill>
            <a:schemeClr val="bg1">
              <a:lumMod val="85000"/>
            </a:schemeClr>
          </a:solidFill>
        </p:grpSpPr>
        <p:sp>
          <p:nvSpPr>
            <p:cNvPr id="30" name="Freeform 18"/>
            <p:cNvSpPr>
              <a:spLocks/>
            </p:cNvSpPr>
            <p:nvPr/>
          </p:nvSpPr>
          <p:spPr bwMode="auto">
            <a:xfrm>
              <a:off x="4011613" y="3425683"/>
              <a:ext cx="1241532" cy="1703530"/>
            </a:xfrm>
            <a:custGeom>
              <a:avLst/>
              <a:gdLst>
                <a:gd name="T0" fmla="*/ 1352 w 1409"/>
                <a:gd name="T1" fmla="*/ 834 h 1936"/>
                <a:gd name="T2" fmla="*/ 931 w 1409"/>
                <a:gd name="T3" fmla="*/ 719 h 1936"/>
                <a:gd name="T4" fmla="*/ 561 w 1409"/>
                <a:gd name="T5" fmla="*/ 739 h 1936"/>
                <a:gd name="T6" fmla="*/ 467 w 1409"/>
                <a:gd name="T7" fmla="*/ 51 h 1936"/>
                <a:gd name="T8" fmla="*/ 284 w 1409"/>
                <a:gd name="T9" fmla="*/ 520 h 1936"/>
                <a:gd name="T10" fmla="*/ 53 w 1409"/>
                <a:gd name="T11" fmla="*/ 844 h 1936"/>
                <a:gd name="T12" fmla="*/ 52 w 1409"/>
                <a:gd name="T13" fmla="*/ 844 h 1936"/>
                <a:gd name="T14" fmla="*/ 39 w 1409"/>
                <a:gd name="T15" fmla="*/ 858 h 1936"/>
                <a:gd name="T16" fmla="*/ 40 w 1409"/>
                <a:gd name="T17" fmla="*/ 862 h 1936"/>
                <a:gd name="T18" fmla="*/ 15 w 1409"/>
                <a:gd name="T19" fmla="*/ 1408 h 1936"/>
                <a:gd name="T20" fmla="*/ 15 w 1409"/>
                <a:gd name="T21" fmla="*/ 1882 h 1936"/>
                <a:gd name="T22" fmla="*/ 637 w 1409"/>
                <a:gd name="T23" fmla="*/ 1936 h 1936"/>
                <a:gd name="T24" fmla="*/ 1263 w 1409"/>
                <a:gd name="T25" fmla="*/ 1742 h 1936"/>
                <a:gd name="T26" fmla="*/ 1152 w 1409"/>
                <a:gd name="T27" fmla="*/ 1635 h 1936"/>
                <a:gd name="T28" fmla="*/ 1349 w 1409"/>
                <a:gd name="T29" fmla="*/ 1497 h 1936"/>
                <a:gd name="T30" fmla="*/ 1218 w 1409"/>
                <a:gd name="T31" fmla="*/ 1344 h 1936"/>
                <a:gd name="T32" fmla="*/ 1405 w 1409"/>
                <a:gd name="T33" fmla="*/ 1186 h 1936"/>
                <a:gd name="T34" fmla="*/ 1232 w 1409"/>
                <a:gd name="T35" fmla="*/ 1029 h 1936"/>
                <a:gd name="T36" fmla="*/ 1352 w 1409"/>
                <a:gd name="T37" fmla="*/ 834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9" h="1936">
                  <a:moveTo>
                    <a:pt x="1352" y="834"/>
                  </a:moveTo>
                  <a:cubicBezTo>
                    <a:pt x="1324" y="728"/>
                    <a:pt x="1081" y="713"/>
                    <a:pt x="931" y="719"/>
                  </a:cubicBezTo>
                  <a:cubicBezTo>
                    <a:pt x="870" y="721"/>
                    <a:pt x="721" y="729"/>
                    <a:pt x="561" y="739"/>
                  </a:cubicBezTo>
                  <a:cubicBezTo>
                    <a:pt x="667" y="595"/>
                    <a:pt x="714" y="0"/>
                    <a:pt x="467" y="51"/>
                  </a:cubicBezTo>
                  <a:cubicBezTo>
                    <a:pt x="311" y="83"/>
                    <a:pt x="381" y="267"/>
                    <a:pt x="284" y="520"/>
                  </a:cubicBezTo>
                  <a:cubicBezTo>
                    <a:pt x="234" y="651"/>
                    <a:pt x="124" y="727"/>
                    <a:pt x="53" y="844"/>
                  </a:cubicBezTo>
                  <a:cubicBezTo>
                    <a:pt x="53" y="844"/>
                    <a:pt x="52" y="844"/>
                    <a:pt x="52" y="844"/>
                  </a:cubicBezTo>
                  <a:cubicBezTo>
                    <a:pt x="39" y="858"/>
                    <a:pt x="39" y="858"/>
                    <a:pt x="39" y="858"/>
                  </a:cubicBezTo>
                  <a:cubicBezTo>
                    <a:pt x="39" y="859"/>
                    <a:pt x="40" y="860"/>
                    <a:pt x="40" y="862"/>
                  </a:cubicBezTo>
                  <a:cubicBezTo>
                    <a:pt x="0" y="944"/>
                    <a:pt x="13" y="1331"/>
                    <a:pt x="15" y="1408"/>
                  </a:cubicBezTo>
                  <a:cubicBezTo>
                    <a:pt x="20" y="1598"/>
                    <a:pt x="15" y="1691"/>
                    <a:pt x="15" y="1882"/>
                  </a:cubicBezTo>
                  <a:cubicBezTo>
                    <a:pt x="15" y="1912"/>
                    <a:pt x="399" y="1936"/>
                    <a:pt x="637" y="1936"/>
                  </a:cubicBezTo>
                  <a:cubicBezTo>
                    <a:pt x="948" y="1936"/>
                    <a:pt x="1270" y="1896"/>
                    <a:pt x="1263" y="1742"/>
                  </a:cubicBezTo>
                  <a:cubicBezTo>
                    <a:pt x="1260" y="1677"/>
                    <a:pt x="1224" y="1655"/>
                    <a:pt x="1152" y="1635"/>
                  </a:cubicBezTo>
                  <a:cubicBezTo>
                    <a:pt x="1278" y="1632"/>
                    <a:pt x="1346" y="1568"/>
                    <a:pt x="1349" y="1497"/>
                  </a:cubicBezTo>
                  <a:cubicBezTo>
                    <a:pt x="1353" y="1422"/>
                    <a:pt x="1310" y="1369"/>
                    <a:pt x="1218" y="1344"/>
                  </a:cubicBezTo>
                  <a:cubicBezTo>
                    <a:pt x="1339" y="1346"/>
                    <a:pt x="1409" y="1277"/>
                    <a:pt x="1405" y="1186"/>
                  </a:cubicBezTo>
                  <a:cubicBezTo>
                    <a:pt x="1408" y="1119"/>
                    <a:pt x="1334" y="1046"/>
                    <a:pt x="1232" y="1029"/>
                  </a:cubicBezTo>
                  <a:cubicBezTo>
                    <a:pt x="1348" y="1009"/>
                    <a:pt x="1380" y="945"/>
                    <a:pt x="1352" y="83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3658994" y="4289896"/>
              <a:ext cx="1060469" cy="83931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2" name="Freeform 31"/>
          <p:cNvSpPr/>
          <p:nvPr userDrawn="1"/>
        </p:nvSpPr>
        <p:spPr bwMode="auto">
          <a:xfrm>
            <a:off x="10215750" y="2894617"/>
            <a:ext cx="348508" cy="248101"/>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Group 32"/>
          <p:cNvGrpSpPr/>
          <p:nvPr userDrawn="1"/>
        </p:nvGrpSpPr>
        <p:grpSpPr>
          <a:xfrm>
            <a:off x="4875379" y="5987704"/>
            <a:ext cx="677386" cy="713626"/>
            <a:chOff x="701427" y="3267691"/>
            <a:chExt cx="881660" cy="928960"/>
          </a:xfrm>
          <a:solidFill>
            <a:schemeClr val="bg1">
              <a:lumMod val="85000"/>
            </a:schemeClr>
          </a:solidFill>
        </p:grpSpPr>
        <p:sp>
          <p:nvSpPr>
            <p:cNvPr id="34" name="Oval 33"/>
            <p:cNvSpPr/>
            <p:nvPr/>
          </p:nvSpPr>
          <p:spPr bwMode="auto">
            <a:xfrm rot="19800000">
              <a:off x="1300984" y="3267691"/>
              <a:ext cx="282103" cy="2821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p:cNvSpPr/>
            <p:nvPr/>
          </p:nvSpPr>
          <p:spPr bwMode="auto">
            <a:xfrm rot="3600000">
              <a:off x="1091245" y="3344904"/>
              <a:ext cx="66265" cy="4944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Oval 35"/>
            <p:cNvSpPr/>
            <p:nvPr/>
          </p:nvSpPr>
          <p:spPr bwMode="auto">
            <a:xfrm rot="19800000">
              <a:off x="701427" y="3613845"/>
              <a:ext cx="282103" cy="2821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Oval 36"/>
            <p:cNvSpPr/>
            <p:nvPr/>
          </p:nvSpPr>
          <p:spPr bwMode="auto">
            <a:xfrm rot="1927922">
              <a:off x="1146921" y="3914548"/>
              <a:ext cx="282103" cy="28210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rot="7327922">
              <a:off x="944225" y="3613271"/>
              <a:ext cx="66265" cy="49447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9" name="Group 38"/>
          <p:cNvGrpSpPr/>
          <p:nvPr userDrawn="1"/>
        </p:nvGrpSpPr>
        <p:grpSpPr>
          <a:xfrm>
            <a:off x="2384819" y="5176846"/>
            <a:ext cx="889636" cy="947735"/>
            <a:chOff x="9717206" y="1665286"/>
            <a:chExt cx="1842448" cy="1963050"/>
          </a:xfrm>
          <a:solidFill>
            <a:schemeClr val="bg1">
              <a:lumMod val="85000"/>
            </a:schemeClr>
          </a:solidFill>
        </p:grpSpPr>
        <p:sp>
          <p:nvSpPr>
            <p:cNvPr id="40" name="Freeform 39"/>
            <p:cNvSpPr/>
            <p:nvPr/>
          </p:nvSpPr>
          <p:spPr bwMode="auto">
            <a:xfrm>
              <a:off x="9717206" y="1872243"/>
              <a:ext cx="1842448" cy="1756093"/>
            </a:xfrm>
            <a:custGeom>
              <a:avLst/>
              <a:gdLst>
                <a:gd name="connsiteX0" fmla="*/ 1305527 w 1842448"/>
                <a:gd name="connsiteY0" fmla="*/ 0 h 1756093"/>
                <a:gd name="connsiteX1" fmla="*/ 1436289 w 1842448"/>
                <a:gd name="connsiteY1" fmla="*/ 70976 h 1756093"/>
                <a:gd name="connsiteX2" fmla="*/ 1842448 w 1842448"/>
                <a:gd name="connsiteY2" fmla="*/ 834869 h 1756093"/>
                <a:gd name="connsiteX3" fmla="*/ 921224 w 1842448"/>
                <a:gd name="connsiteY3" fmla="*/ 1756093 h 1756093"/>
                <a:gd name="connsiteX4" fmla="*/ 0 w 1842448"/>
                <a:gd name="connsiteY4" fmla="*/ 834869 h 1756093"/>
                <a:gd name="connsiteX5" fmla="*/ 406159 w 1842448"/>
                <a:gd name="connsiteY5" fmla="*/ 70976 h 1756093"/>
                <a:gd name="connsiteX6" fmla="*/ 536921 w 1842448"/>
                <a:gd name="connsiteY6" fmla="*/ 0 h 1756093"/>
                <a:gd name="connsiteX7" fmla="*/ 626176 w 1842448"/>
                <a:gd name="connsiteY7" fmla="*/ 202557 h 1756093"/>
                <a:gd name="connsiteX8" fmla="*/ 530057 w 1842448"/>
                <a:gd name="connsiteY8" fmla="*/ 254729 h 1756093"/>
                <a:gd name="connsiteX9" fmla="*/ 221598 w 1842448"/>
                <a:gd name="connsiteY9" fmla="*/ 834870 h 1756093"/>
                <a:gd name="connsiteX10" fmla="*/ 921225 w 1842448"/>
                <a:gd name="connsiteY10" fmla="*/ 1534497 h 1756093"/>
                <a:gd name="connsiteX11" fmla="*/ 1620852 w 1842448"/>
                <a:gd name="connsiteY11" fmla="*/ 834870 h 1756093"/>
                <a:gd name="connsiteX12" fmla="*/ 1312393 w 1842448"/>
                <a:gd name="connsiteY12" fmla="*/ 254729 h 1756093"/>
                <a:gd name="connsiteX13" fmla="*/ 1216272 w 1842448"/>
                <a:gd name="connsiteY13" fmla="*/ 202556 h 175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448" h="1756093">
                  <a:moveTo>
                    <a:pt x="1305527" y="0"/>
                  </a:moveTo>
                  <a:lnTo>
                    <a:pt x="1436289" y="70976"/>
                  </a:lnTo>
                  <a:cubicBezTo>
                    <a:pt x="1681336" y="236526"/>
                    <a:pt x="1842448" y="516883"/>
                    <a:pt x="1842448" y="834869"/>
                  </a:cubicBezTo>
                  <a:cubicBezTo>
                    <a:pt x="1842448" y="1343647"/>
                    <a:pt x="1430002" y="1756093"/>
                    <a:pt x="921224" y="1756093"/>
                  </a:cubicBezTo>
                  <a:cubicBezTo>
                    <a:pt x="412446" y="1756093"/>
                    <a:pt x="0" y="1343647"/>
                    <a:pt x="0" y="834869"/>
                  </a:cubicBezTo>
                  <a:cubicBezTo>
                    <a:pt x="0" y="516883"/>
                    <a:pt x="161112" y="236526"/>
                    <a:pt x="406159" y="70976"/>
                  </a:cubicBezTo>
                  <a:lnTo>
                    <a:pt x="536921" y="0"/>
                  </a:lnTo>
                  <a:lnTo>
                    <a:pt x="626176" y="202557"/>
                  </a:lnTo>
                  <a:lnTo>
                    <a:pt x="530057" y="254729"/>
                  </a:lnTo>
                  <a:cubicBezTo>
                    <a:pt x="343955" y="380457"/>
                    <a:pt x="221598" y="593375"/>
                    <a:pt x="221598" y="834870"/>
                  </a:cubicBezTo>
                  <a:cubicBezTo>
                    <a:pt x="221598" y="1221263"/>
                    <a:pt x="534832" y="1534497"/>
                    <a:pt x="921225" y="1534497"/>
                  </a:cubicBezTo>
                  <a:cubicBezTo>
                    <a:pt x="1307618" y="1534497"/>
                    <a:pt x="1620852" y="1221263"/>
                    <a:pt x="1620852" y="834870"/>
                  </a:cubicBezTo>
                  <a:cubicBezTo>
                    <a:pt x="1620852" y="593375"/>
                    <a:pt x="1498495" y="380457"/>
                    <a:pt x="1312393" y="254729"/>
                  </a:cubicBezTo>
                  <a:lnTo>
                    <a:pt x="1216272" y="20255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p:nvSpPr>
          <p:spPr bwMode="auto">
            <a:xfrm>
              <a:off x="10538215" y="1665286"/>
              <a:ext cx="216221" cy="1143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2" name="Freeform 41"/>
          <p:cNvSpPr>
            <a:spLocks/>
          </p:cNvSpPr>
          <p:nvPr userDrawn="1"/>
        </p:nvSpPr>
        <p:spPr bwMode="auto">
          <a:xfrm>
            <a:off x="9607502" y="1478507"/>
            <a:ext cx="604107" cy="685864"/>
          </a:xfrm>
          <a:custGeom>
            <a:avLst/>
            <a:gdLst>
              <a:gd name="connsiteX0" fmla="*/ 671962 w 1342613"/>
              <a:gd name="connsiteY0" fmla="*/ 451283 h 1524532"/>
              <a:gd name="connsiteX1" fmla="*/ 485615 w 1342613"/>
              <a:gd name="connsiteY1" fmla="*/ 637630 h 1524532"/>
              <a:gd name="connsiteX2" fmla="*/ 540195 w 1342613"/>
              <a:gd name="connsiteY2" fmla="*/ 769397 h 1524532"/>
              <a:gd name="connsiteX3" fmla="*/ 580648 w 1342613"/>
              <a:gd name="connsiteY3" fmla="*/ 796671 h 1524532"/>
              <a:gd name="connsiteX4" fmla="*/ 525619 w 1342613"/>
              <a:gd name="connsiteY4" fmla="*/ 1087555 h 1524532"/>
              <a:gd name="connsiteX5" fmla="*/ 818303 w 1342613"/>
              <a:gd name="connsiteY5" fmla="*/ 1087555 h 1524532"/>
              <a:gd name="connsiteX6" fmla="*/ 763275 w 1342613"/>
              <a:gd name="connsiteY6" fmla="*/ 796673 h 1524532"/>
              <a:gd name="connsiteX7" fmla="*/ 803729 w 1342613"/>
              <a:gd name="connsiteY7" fmla="*/ 769397 h 1524532"/>
              <a:gd name="connsiteX8" fmla="*/ 858309 w 1342613"/>
              <a:gd name="connsiteY8" fmla="*/ 637630 h 1524532"/>
              <a:gd name="connsiteX9" fmla="*/ 671962 w 1342613"/>
              <a:gd name="connsiteY9" fmla="*/ 451283 h 1524532"/>
              <a:gd name="connsiteX10" fmla="*/ 665941 w 1342613"/>
              <a:gd name="connsiteY10" fmla="*/ 0 h 1524532"/>
              <a:gd name="connsiteX11" fmla="*/ 677983 w 1342613"/>
              <a:gd name="connsiteY11" fmla="*/ 12004 h 1524532"/>
              <a:gd name="connsiteX12" fmla="*/ 1015160 w 1342613"/>
              <a:gd name="connsiteY12" fmla="*/ 156055 h 1524532"/>
              <a:gd name="connsiteX13" fmla="*/ 1292127 w 1342613"/>
              <a:gd name="connsiteY13" fmla="*/ 84029 h 1524532"/>
              <a:gd name="connsiteX14" fmla="*/ 665941 w 1342613"/>
              <a:gd name="connsiteY14" fmla="*/ 1524532 h 1524532"/>
              <a:gd name="connsiteX15" fmla="*/ 51797 w 1342613"/>
              <a:gd name="connsiteY15" fmla="*/ 84029 h 1524532"/>
              <a:gd name="connsiteX16" fmla="*/ 328763 w 1342613"/>
              <a:gd name="connsiteY16" fmla="*/ 156055 h 1524532"/>
              <a:gd name="connsiteX17" fmla="*/ 665941 w 1342613"/>
              <a:gd name="connsiteY17" fmla="*/ 12004 h 1524532"/>
              <a:gd name="connsiteX18" fmla="*/ 665941 w 1342613"/>
              <a:gd name="connsiteY18" fmla="*/ 0 h 1524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613" h="1524532">
                <a:moveTo>
                  <a:pt x="671962" y="451283"/>
                </a:moveTo>
                <a:cubicBezTo>
                  <a:pt x="569045" y="451283"/>
                  <a:pt x="485615" y="534713"/>
                  <a:pt x="485615" y="637630"/>
                </a:cubicBezTo>
                <a:cubicBezTo>
                  <a:pt x="485615" y="689089"/>
                  <a:pt x="506472" y="735675"/>
                  <a:pt x="540195" y="769397"/>
                </a:cubicBezTo>
                <a:lnTo>
                  <a:pt x="580648" y="796671"/>
                </a:lnTo>
                <a:lnTo>
                  <a:pt x="525619" y="1087555"/>
                </a:lnTo>
                <a:lnTo>
                  <a:pt x="818303" y="1087555"/>
                </a:lnTo>
                <a:lnTo>
                  <a:pt x="763275" y="796673"/>
                </a:lnTo>
                <a:lnTo>
                  <a:pt x="803729" y="769397"/>
                </a:lnTo>
                <a:cubicBezTo>
                  <a:pt x="837452" y="735675"/>
                  <a:pt x="858309" y="689089"/>
                  <a:pt x="858309" y="637630"/>
                </a:cubicBezTo>
                <a:cubicBezTo>
                  <a:pt x="858309" y="534713"/>
                  <a:pt x="774879" y="451283"/>
                  <a:pt x="671962" y="451283"/>
                </a:cubicBezTo>
                <a:close/>
                <a:moveTo>
                  <a:pt x="665941" y="0"/>
                </a:moveTo>
                <a:cubicBezTo>
                  <a:pt x="677983" y="0"/>
                  <a:pt x="677983" y="0"/>
                  <a:pt x="677983" y="12004"/>
                </a:cubicBezTo>
                <a:cubicBezTo>
                  <a:pt x="750235" y="72025"/>
                  <a:pt x="858613" y="156055"/>
                  <a:pt x="1015160" y="156055"/>
                </a:cubicBezTo>
                <a:cubicBezTo>
                  <a:pt x="1099454" y="156055"/>
                  <a:pt x="1195790" y="132046"/>
                  <a:pt x="1292127" y="84029"/>
                </a:cubicBezTo>
                <a:cubicBezTo>
                  <a:pt x="1460715" y="624218"/>
                  <a:pt x="1195790" y="1248436"/>
                  <a:pt x="665941" y="1524532"/>
                </a:cubicBezTo>
                <a:cubicBezTo>
                  <a:pt x="136091" y="1248436"/>
                  <a:pt x="-116792" y="624218"/>
                  <a:pt x="51797" y="84029"/>
                </a:cubicBezTo>
                <a:cubicBezTo>
                  <a:pt x="148133" y="132046"/>
                  <a:pt x="244469" y="156055"/>
                  <a:pt x="328763" y="156055"/>
                </a:cubicBezTo>
                <a:cubicBezTo>
                  <a:pt x="485310" y="156055"/>
                  <a:pt x="593688" y="72025"/>
                  <a:pt x="665941" y="12004"/>
                </a:cubicBezTo>
                <a:cubicBezTo>
                  <a:pt x="665941" y="0"/>
                  <a:pt x="665941" y="0"/>
                  <a:pt x="66594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userDrawn="1"/>
        </p:nvGrpSpPr>
        <p:grpSpPr>
          <a:xfrm>
            <a:off x="8199259" y="5245719"/>
            <a:ext cx="428932" cy="748783"/>
            <a:chOff x="8209913" y="5304368"/>
            <a:chExt cx="420500" cy="734168"/>
          </a:xfrm>
          <a:solidFill>
            <a:schemeClr val="bg1">
              <a:lumMod val="85000"/>
            </a:schemeClr>
          </a:solidFill>
        </p:grpSpPr>
        <p:sp>
          <p:nvSpPr>
            <p:cNvPr id="44" name="Freeform 8"/>
            <p:cNvSpPr>
              <a:spLocks/>
            </p:cNvSpPr>
            <p:nvPr/>
          </p:nvSpPr>
          <p:spPr bwMode="auto">
            <a:xfrm>
              <a:off x="8299026" y="5854741"/>
              <a:ext cx="242275" cy="183795"/>
            </a:xfrm>
            <a:custGeom>
              <a:avLst/>
              <a:gdLst>
                <a:gd name="T0" fmla="*/ 243 w 312"/>
                <a:gd name="T1" fmla="*/ 114 h 239"/>
                <a:gd name="T2" fmla="*/ 309 w 312"/>
                <a:gd name="T3" fmla="*/ 8 h 239"/>
                <a:gd name="T4" fmla="*/ 304 w 312"/>
                <a:gd name="T5" fmla="*/ 0 h 239"/>
                <a:gd name="T6" fmla="*/ 7 w 312"/>
                <a:gd name="T7" fmla="*/ 0 h 239"/>
                <a:gd name="T8" fmla="*/ 3 w 312"/>
                <a:gd name="T9" fmla="*/ 8 h 239"/>
                <a:gd name="T10" fmla="*/ 80 w 312"/>
                <a:gd name="T11" fmla="*/ 115 h 239"/>
                <a:gd name="T12" fmla="*/ 86 w 312"/>
                <a:gd name="T13" fmla="*/ 120 h 239"/>
                <a:gd name="T14" fmla="*/ 82 w 312"/>
                <a:gd name="T15" fmla="*/ 133 h 239"/>
                <a:gd name="T16" fmla="*/ 88 w 312"/>
                <a:gd name="T17" fmla="*/ 149 h 239"/>
                <a:gd name="T18" fmla="*/ 82 w 312"/>
                <a:gd name="T19" fmla="*/ 164 h 239"/>
                <a:gd name="T20" fmla="*/ 88 w 312"/>
                <a:gd name="T21" fmla="*/ 180 h 239"/>
                <a:gd name="T22" fmla="*/ 82 w 312"/>
                <a:gd name="T23" fmla="*/ 196 h 239"/>
                <a:gd name="T24" fmla="*/ 106 w 312"/>
                <a:gd name="T25" fmla="*/ 219 h 239"/>
                <a:gd name="T26" fmla="*/ 122 w 312"/>
                <a:gd name="T27" fmla="*/ 219 h 239"/>
                <a:gd name="T28" fmla="*/ 135 w 312"/>
                <a:gd name="T29" fmla="*/ 237 h 239"/>
                <a:gd name="T30" fmla="*/ 139 w 312"/>
                <a:gd name="T31" fmla="*/ 239 h 239"/>
                <a:gd name="T32" fmla="*/ 193 w 312"/>
                <a:gd name="T33" fmla="*/ 239 h 239"/>
                <a:gd name="T34" fmla="*/ 197 w 312"/>
                <a:gd name="T35" fmla="*/ 237 h 239"/>
                <a:gd name="T36" fmla="*/ 208 w 312"/>
                <a:gd name="T37" fmla="*/ 219 h 239"/>
                <a:gd name="T38" fmla="*/ 222 w 312"/>
                <a:gd name="T39" fmla="*/ 219 h 239"/>
                <a:gd name="T40" fmla="*/ 245 w 312"/>
                <a:gd name="T41" fmla="*/ 196 h 239"/>
                <a:gd name="T42" fmla="*/ 239 w 312"/>
                <a:gd name="T43" fmla="*/ 180 h 239"/>
                <a:gd name="T44" fmla="*/ 245 w 312"/>
                <a:gd name="T45" fmla="*/ 164 h 239"/>
                <a:gd name="T46" fmla="*/ 239 w 312"/>
                <a:gd name="T47" fmla="*/ 149 h 239"/>
                <a:gd name="T48" fmla="*/ 245 w 312"/>
                <a:gd name="T49" fmla="*/ 133 h 239"/>
                <a:gd name="T50" fmla="*/ 240 w 312"/>
                <a:gd name="T51" fmla="*/ 118 h 239"/>
                <a:gd name="T52" fmla="*/ 243 w 312"/>
                <a:gd name="T53" fmla="*/ 1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2" h="239">
                  <a:moveTo>
                    <a:pt x="243" y="114"/>
                  </a:moveTo>
                  <a:cubicBezTo>
                    <a:pt x="309" y="8"/>
                    <a:pt x="309" y="8"/>
                    <a:pt x="309" y="8"/>
                  </a:cubicBezTo>
                  <a:cubicBezTo>
                    <a:pt x="312" y="4"/>
                    <a:pt x="310" y="0"/>
                    <a:pt x="304" y="0"/>
                  </a:cubicBezTo>
                  <a:cubicBezTo>
                    <a:pt x="7" y="0"/>
                    <a:pt x="7" y="0"/>
                    <a:pt x="7" y="0"/>
                  </a:cubicBezTo>
                  <a:cubicBezTo>
                    <a:pt x="2" y="0"/>
                    <a:pt x="0" y="4"/>
                    <a:pt x="3" y="8"/>
                  </a:cubicBezTo>
                  <a:cubicBezTo>
                    <a:pt x="80" y="115"/>
                    <a:pt x="80" y="115"/>
                    <a:pt x="80" y="115"/>
                  </a:cubicBezTo>
                  <a:cubicBezTo>
                    <a:pt x="81" y="117"/>
                    <a:pt x="84" y="119"/>
                    <a:pt x="86" y="120"/>
                  </a:cubicBezTo>
                  <a:cubicBezTo>
                    <a:pt x="84" y="124"/>
                    <a:pt x="82" y="129"/>
                    <a:pt x="82" y="133"/>
                  </a:cubicBezTo>
                  <a:cubicBezTo>
                    <a:pt x="82" y="139"/>
                    <a:pt x="84" y="144"/>
                    <a:pt x="88" y="149"/>
                  </a:cubicBezTo>
                  <a:cubicBezTo>
                    <a:pt x="84" y="153"/>
                    <a:pt x="82" y="158"/>
                    <a:pt x="82" y="164"/>
                  </a:cubicBezTo>
                  <a:cubicBezTo>
                    <a:pt x="82" y="171"/>
                    <a:pt x="84" y="176"/>
                    <a:pt x="88" y="180"/>
                  </a:cubicBezTo>
                  <a:cubicBezTo>
                    <a:pt x="84" y="184"/>
                    <a:pt x="82" y="190"/>
                    <a:pt x="82" y="196"/>
                  </a:cubicBezTo>
                  <a:cubicBezTo>
                    <a:pt x="82" y="209"/>
                    <a:pt x="93" y="219"/>
                    <a:pt x="106" y="219"/>
                  </a:cubicBezTo>
                  <a:cubicBezTo>
                    <a:pt x="122" y="219"/>
                    <a:pt x="122" y="219"/>
                    <a:pt x="122" y="219"/>
                  </a:cubicBezTo>
                  <a:cubicBezTo>
                    <a:pt x="135" y="237"/>
                    <a:pt x="135" y="237"/>
                    <a:pt x="135" y="237"/>
                  </a:cubicBezTo>
                  <a:cubicBezTo>
                    <a:pt x="136" y="238"/>
                    <a:pt x="137" y="239"/>
                    <a:pt x="139" y="239"/>
                  </a:cubicBezTo>
                  <a:cubicBezTo>
                    <a:pt x="193" y="239"/>
                    <a:pt x="193" y="239"/>
                    <a:pt x="193" y="239"/>
                  </a:cubicBezTo>
                  <a:cubicBezTo>
                    <a:pt x="194" y="239"/>
                    <a:pt x="196" y="238"/>
                    <a:pt x="197" y="237"/>
                  </a:cubicBezTo>
                  <a:cubicBezTo>
                    <a:pt x="208" y="219"/>
                    <a:pt x="208" y="219"/>
                    <a:pt x="208" y="219"/>
                  </a:cubicBezTo>
                  <a:cubicBezTo>
                    <a:pt x="222" y="219"/>
                    <a:pt x="222" y="219"/>
                    <a:pt x="222" y="219"/>
                  </a:cubicBezTo>
                  <a:cubicBezTo>
                    <a:pt x="235" y="219"/>
                    <a:pt x="245" y="209"/>
                    <a:pt x="245" y="196"/>
                  </a:cubicBezTo>
                  <a:cubicBezTo>
                    <a:pt x="245" y="190"/>
                    <a:pt x="243" y="184"/>
                    <a:pt x="239" y="180"/>
                  </a:cubicBezTo>
                  <a:cubicBezTo>
                    <a:pt x="243" y="176"/>
                    <a:pt x="245" y="171"/>
                    <a:pt x="245" y="164"/>
                  </a:cubicBezTo>
                  <a:cubicBezTo>
                    <a:pt x="245" y="158"/>
                    <a:pt x="243" y="153"/>
                    <a:pt x="239" y="149"/>
                  </a:cubicBezTo>
                  <a:cubicBezTo>
                    <a:pt x="243" y="144"/>
                    <a:pt x="245" y="139"/>
                    <a:pt x="245" y="133"/>
                  </a:cubicBezTo>
                  <a:cubicBezTo>
                    <a:pt x="245" y="128"/>
                    <a:pt x="243" y="122"/>
                    <a:pt x="240" y="118"/>
                  </a:cubicBezTo>
                  <a:cubicBezTo>
                    <a:pt x="241" y="117"/>
                    <a:pt x="242" y="115"/>
                    <a:pt x="243" y="114"/>
                  </a:cubicBezTo>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10"/>
            <p:cNvSpPr>
              <a:spLocks/>
            </p:cNvSpPr>
            <p:nvPr/>
          </p:nvSpPr>
          <p:spPr bwMode="auto">
            <a:xfrm>
              <a:off x="8209913" y="5304368"/>
              <a:ext cx="420500" cy="515182"/>
            </a:xfrm>
            <a:custGeom>
              <a:avLst/>
              <a:gdLst>
                <a:gd name="T0" fmla="*/ 548 w 548"/>
                <a:gd name="T1" fmla="*/ 274 h 670"/>
                <a:gd name="T2" fmla="*/ 274 w 548"/>
                <a:gd name="T3" fmla="*/ 0 h 670"/>
                <a:gd name="T4" fmla="*/ 0 w 548"/>
                <a:gd name="T5" fmla="*/ 274 h 670"/>
                <a:gd name="T6" fmla="*/ 31 w 548"/>
                <a:gd name="T7" fmla="*/ 400 h 670"/>
                <a:gd name="T8" fmla="*/ 31 w 548"/>
                <a:gd name="T9" fmla="*/ 400 h 670"/>
                <a:gd name="T10" fmla="*/ 31 w 548"/>
                <a:gd name="T11" fmla="*/ 401 h 670"/>
                <a:gd name="T12" fmla="*/ 59 w 548"/>
                <a:gd name="T13" fmla="*/ 444 h 670"/>
                <a:gd name="T14" fmla="*/ 149 w 548"/>
                <a:gd name="T15" fmla="*/ 670 h 670"/>
                <a:gd name="T16" fmla="*/ 402 w 548"/>
                <a:gd name="T17" fmla="*/ 670 h 670"/>
                <a:gd name="T18" fmla="*/ 520 w 548"/>
                <a:gd name="T19" fmla="*/ 400 h 670"/>
                <a:gd name="T20" fmla="*/ 517 w 548"/>
                <a:gd name="T21" fmla="*/ 401 h 670"/>
                <a:gd name="T22" fmla="*/ 548 w 548"/>
                <a:gd name="T23" fmla="*/ 274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670">
                  <a:moveTo>
                    <a:pt x="548" y="274"/>
                  </a:moveTo>
                  <a:cubicBezTo>
                    <a:pt x="548" y="123"/>
                    <a:pt x="426" y="0"/>
                    <a:pt x="274" y="0"/>
                  </a:cubicBezTo>
                  <a:cubicBezTo>
                    <a:pt x="123" y="0"/>
                    <a:pt x="0" y="123"/>
                    <a:pt x="0" y="274"/>
                  </a:cubicBezTo>
                  <a:cubicBezTo>
                    <a:pt x="0" y="320"/>
                    <a:pt x="11" y="363"/>
                    <a:pt x="31" y="400"/>
                  </a:cubicBezTo>
                  <a:cubicBezTo>
                    <a:pt x="31" y="400"/>
                    <a:pt x="31" y="400"/>
                    <a:pt x="31" y="400"/>
                  </a:cubicBezTo>
                  <a:cubicBezTo>
                    <a:pt x="31" y="400"/>
                    <a:pt x="31" y="401"/>
                    <a:pt x="31" y="401"/>
                  </a:cubicBezTo>
                  <a:cubicBezTo>
                    <a:pt x="39" y="416"/>
                    <a:pt x="49" y="430"/>
                    <a:pt x="59" y="444"/>
                  </a:cubicBezTo>
                  <a:cubicBezTo>
                    <a:pt x="146" y="585"/>
                    <a:pt x="149" y="656"/>
                    <a:pt x="149" y="670"/>
                  </a:cubicBezTo>
                  <a:cubicBezTo>
                    <a:pt x="402" y="670"/>
                    <a:pt x="402" y="670"/>
                    <a:pt x="402" y="670"/>
                  </a:cubicBezTo>
                  <a:cubicBezTo>
                    <a:pt x="402" y="654"/>
                    <a:pt x="405" y="570"/>
                    <a:pt x="520" y="400"/>
                  </a:cubicBezTo>
                  <a:cubicBezTo>
                    <a:pt x="517" y="401"/>
                    <a:pt x="517" y="401"/>
                    <a:pt x="517" y="401"/>
                  </a:cubicBezTo>
                  <a:cubicBezTo>
                    <a:pt x="537" y="363"/>
                    <a:pt x="548" y="320"/>
                    <a:pt x="548" y="274"/>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sp>
        <p:nvSpPr>
          <p:cNvPr id="46" name="Freeform 16"/>
          <p:cNvSpPr>
            <a:spLocks noEditPoints="1"/>
          </p:cNvSpPr>
          <p:nvPr userDrawn="1"/>
        </p:nvSpPr>
        <p:spPr bwMode="auto">
          <a:xfrm>
            <a:off x="821983" y="4977248"/>
            <a:ext cx="400002" cy="348702"/>
          </a:xfrm>
          <a:custGeom>
            <a:avLst/>
            <a:gdLst>
              <a:gd name="T0" fmla="*/ 58 w 77"/>
              <a:gd name="T1" fmla="*/ 0 h 67"/>
              <a:gd name="T2" fmla="*/ 19 w 77"/>
              <a:gd name="T3" fmla="*/ 0 h 67"/>
              <a:gd name="T4" fmla="*/ 0 w 77"/>
              <a:gd name="T5" fmla="*/ 33 h 67"/>
              <a:gd name="T6" fmla="*/ 19 w 77"/>
              <a:gd name="T7" fmla="*/ 67 h 67"/>
              <a:gd name="T8" fmla="*/ 58 w 77"/>
              <a:gd name="T9" fmla="*/ 67 h 67"/>
              <a:gd name="T10" fmla="*/ 77 w 77"/>
              <a:gd name="T11" fmla="*/ 33 h 67"/>
              <a:gd name="T12" fmla="*/ 58 w 77"/>
              <a:gd name="T13" fmla="*/ 0 h 67"/>
              <a:gd name="T14" fmla="*/ 38 w 77"/>
              <a:gd name="T15" fmla="*/ 52 h 67"/>
              <a:gd name="T16" fmla="*/ 19 w 77"/>
              <a:gd name="T17" fmla="*/ 33 h 67"/>
              <a:gd name="T18" fmla="*/ 38 w 77"/>
              <a:gd name="T19" fmla="*/ 14 h 67"/>
              <a:gd name="T20" fmla="*/ 58 w 77"/>
              <a:gd name="T21" fmla="*/ 33 h 67"/>
              <a:gd name="T22" fmla="*/ 38 w 77"/>
              <a:gd name="T23"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67">
                <a:moveTo>
                  <a:pt x="58" y="0"/>
                </a:moveTo>
                <a:cubicBezTo>
                  <a:pt x="19" y="0"/>
                  <a:pt x="19" y="0"/>
                  <a:pt x="19" y="0"/>
                </a:cubicBezTo>
                <a:cubicBezTo>
                  <a:pt x="0" y="33"/>
                  <a:pt x="0" y="33"/>
                  <a:pt x="0" y="33"/>
                </a:cubicBezTo>
                <a:cubicBezTo>
                  <a:pt x="19" y="67"/>
                  <a:pt x="19" y="67"/>
                  <a:pt x="19" y="67"/>
                </a:cubicBezTo>
                <a:cubicBezTo>
                  <a:pt x="58" y="67"/>
                  <a:pt x="58" y="67"/>
                  <a:pt x="58" y="67"/>
                </a:cubicBezTo>
                <a:cubicBezTo>
                  <a:pt x="77" y="33"/>
                  <a:pt x="77" y="33"/>
                  <a:pt x="77" y="33"/>
                </a:cubicBezTo>
                <a:lnTo>
                  <a:pt x="58" y="0"/>
                </a:lnTo>
                <a:close/>
                <a:moveTo>
                  <a:pt x="38" y="52"/>
                </a:moveTo>
                <a:cubicBezTo>
                  <a:pt x="28" y="52"/>
                  <a:pt x="19" y="44"/>
                  <a:pt x="19" y="33"/>
                </a:cubicBezTo>
                <a:cubicBezTo>
                  <a:pt x="19" y="23"/>
                  <a:pt x="28" y="14"/>
                  <a:pt x="38" y="14"/>
                </a:cubicBezTo>
                <a:cubicBezTo>
                  <a:pt x="49" y="14"/>
                  <a:pt x="58" y="23"/>
                  <a:pt x="58" y="33"/>
                </a:cubicBezTo>
                <a:cubicBezTo>
                  <a:pt x="58" y="44"/>
                  <a:pt x="49" y="52"/>
                  <a:pt x="38" y="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20"/>
          <p:cNvSpPr>
            <a:spLocks/>
          </p:cNvSpPr>
          <p:nvPr userDrawn="1"/>
        </p:nvSpPr>
        <p:spPr bwMode="auto">
          <a:xfrm>
            <a:off x="10574585" y="5964119"/>
            <a:ext cx="772577" cy="442058"/>
          </a:xfrm>
          <a:custGeom>
            <a:avLst/>
            <a:gdLst>
              <a:gd name="T0" fmla="*/ 187 w 224"/>
              <a:gd name="T1" fmla="*/ 53 h 127"/>
              <a:gd name="T2" fmla="*/ 184 w 224"/>
              <a:gd name="T3" fmla="*/ 54 h 127"/>
              <a:gd name="T4" fmla="*/ 187 w 224"/>
              <a:gd name="T5" fmla="*/ 37 h 127"/>
              <a:gd name="T6" fmla="*/ 151 w 224"/>
              <a:gd name="T7" fmla="*/ 0 h 127"/>
              <a:gd name="T8" fmla="*/ 114 w 224"/>
              <a:gd name="T9" fmla="*/ 33 h 127"/>
              <a:gd name="T10" fmla="*/ 87 w 224"/>
              <a:gd name="T11" fmla="*/ 21 h 127"/>
              <a:gd name="T12" fmla="*/ 50 w 224"/>
              <a:gd name="T13" fmla="*/ 56 h 127"/>
              <a:gd name="T14" fmla="*/ 37 w 224"/>
              <a:gd name="T15" fmla="*/ 53 h 127"/>
              <a:gd name="T16" fmla="*/ 0 w 224"/>
              <a:gd name="T17" fmla="*/ 90 h 127"/>
              <a:gd name="T18" fmla="*/ 37 w 224"/>
              <a:gd name="T19" fmla="*/ 127 h 127"/>
              <a:gd name="T20" fmla="*/ 187 w 224"/>
              <a:gd name="T21" fmla="*/ 127 h 127"/>
              <a:gd name="T22" fmla="*/ 224 w 224"/>
              <a:gd name="T23" fmla="*/ 90 h 127"/>
              <a:gd name="T24" fmla="*/ 187 w 224"/>
              <a:gd name="T25" fmla="*/ 5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7">
                <a:moveTo>
                  <a:pt x="187" y="53"/>
                </a:moveTo>
                <a:cubicBezTo>
                  <a:pt x="186" y="53"/>
                  <a:pt x="185" y="53"/>
                  <a:pt x="184" y="54"/>
                </a:cubicBezTo>
                <a:cubicBezTo>
                  <a:pt x="186" y="49"/>
                  <a:pt x="187" y="43"/>
                  <a:pt x="187" y="37"/>
                </a:cubicBezTo>
                <a:cubicBezTo>
                  <a:pt x="187" y="17"/>
                  <a:pt x="171" y="0"/>
                  <a:pt x="151" y="0"/>
                </a:cubicBezTo>
                <a:cubicBezTo>
                  <a:pt x="132" y="0"/>
                  <a:pt x="116" y="15"/>
                  <a:pt x="114" y="33"/>
                </a:cubicBezTo>
                <a:cubicBezTo>
                  <a:pt x="107" y="25"/>
                  <a:pt x="98" y="21"/>
                  <a:pt x="87" y="21"/>
                </a:cubicBezTo>
                <a:cubicBezTo>
                  <a:pt x="67" y="21"/>
                  <a:pt x="51" y="36"/>
                  <a:pt x="50" y="56"/>
                </a:cubicBezTo>
                <a:cubicBezTo>
                  <a:pt x="46" y="54"/>
                  <a:pt x="42" y="53"/>
                  <a:pt x="37" y="53"/>
                </a:cubicBezTo>
                <a:cubicBezTo>
                  <a:pt x="17" y="53"/>
                  <a:pt x="0" y="70"/>
                  <a:pt x="0" y="90"/>
                </a:cubicBezTo>
                <a:cubicBezTo>
                  <a:pt x="0" y="110"/>
                  <a:pt x="17" y="127"/>
                  <a:pt x="37" y="127"/>
                </a:cubicBezTo>
                <a:cubicBezTo>
                  <a:pt x="187" y="127"/>
                  <a:pt x="187" y="127"/>
                  <a:pt x="187" y="127"/>
                </a:cubicBezTo>
                <a:cubicBezTo>
                  <a:pt x="208" y="127"/>
                  <a:pt x="224" y="110"/>
                  <a:pt x="224" y="90"/>
                </a:cubicBezTo>
                <a:cubicBezTo>
                  <a:pt x="224" y="70"/>
                  <a:pt x="208" y="53"/>
                  <a:pt x="187" y="53"/>
                </a:cubicBezTo>
                <a:close/>
              </a:path>
            </a:pathLst>
          </a:custGeom>
          <a:solidFill>
            <a:schemeClr val="bg1">
              <a:lumMod val="85000"/>
            </a:schemeClr>
          </a:solidFill>
          <a:ln w="38100">
            <a:solidFill>
              <a:srgbClr val="F2F2F2"/>
            </a:solidFill>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sp>
        <p:nvSpPr>
          <p:cNvPr id="48" name="Down Arrow 47"/>
          <p:cNvSpPr/>
          <p:nvPr userDrawn="1"/>
        </p:nvSpPr>
        <p:spPr bwMode="auto">
          <a:xfrm rot="10800000">
            <a:off x="10869812" y="6135410"/>
            <a:ext cx="246896" cy="279781"/>
          </a:xfrm>
          <a:prstGeom prst="downArrow">
            <a:avLst>
              <a:gd name="adj1" fmla="val 50000"/>
              <a:gd name="adj2" fmla="val 63834"/>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Freeform 24"/>
          <p:cNvSpPr>
            <a:spLocks/>
          </p:cNvSpPr>
          <p:nvPr userDrawn="1"/>
        </p:nvSpPr>
        <p:spPr bwMode="auto">
          <a:xfrm>
            <a:off x="2784075" y="4517157"/>
            <a:ext cx="266329" cy="527559"/>
          </a:xfrm>
          <a:custGeom>
            <a:avLst/>
            <a:gdLst>
              <a:gd name="T0" fmla="*/ 45 w 87"/>
              <a:gd name="T1" fmla="*/ 175 h 175"/>
              <a:gd name="T2" fmla="*/ 42 w 87"/>
              <a:gd name="T3" fmla="*/ 175 h 175"/>
              <a:gd name="T4" fmla="*/ 0 w 87"/>
              <a:gd name="T5" fmla="*/ 133 h 175"/>
              <a:gd name="T6" fmla="*/ 0 w 87"/>
              <a:gd name="T7" fmla="*/ 29 h 175"/>
              <a:gd name="T8" fmla="*/ 29 w 87"/>
              <a:gd name="T9" fmla="*/ 0 h 175"/>
              <a:gd name="T10" fmla="*/ 33 w 87"/>
              <a:gd name="T11" fmla="*/ 0 h 175"/>
              <a:gd name="T12" fmla="*/ 62 w 87"/>
              <a:gd name="T13" fmla="*/ 29 h 175"/>
              <a:gd name="T14" fmla="*/ 62 w 87"/>
              <a:gd name="T15" fmla="*/ 127 h 175"/>
              <a:gd name="T16" fmla="*/ 44 w 87"/>
              <a:gd name="T17" fmla="*/ 146 h 175"/>
              <a:gd name="T18" fmla="*/ 43 w 87"/>
              <a:gd name="T19" fmla="*/ 146 h 175"/>
              <a:gd name="T20" fmla="*/ 24 w 87"/>
              <a:gd name="T21" fmla="*/ 127 h 175"/>
              <a:gd name="T22" fmla="*/ 24 w 87"/>
              <a:gd name="T23" fmla="*/ 58 h 175"/>
              <a:gd name="T24" fmla="*/ 31 w 87"/>
              <a:gd name="T25" fmla="*/ 51 h 175"/>
              <a:gd name="T26" fmla="*/ 38 w 87"/>
              <a:gd name="T27" fmla="*/ 58 h 175"/>
              <a:gd name="T28" fmla="*/ 38 w 87"/>
              <a:gd name="T29" fmla="*/ 127 h 175"/>
              <a:gd name="T30" fmla="*/ 43 w 87"/>
              <a:gd name="T31" fmla="*/ 132 h 175"/>
              <a:gd name="T32" fmla="*/ 44 w 87"/>
              <a:gd name="T33" fmla="*/ 132 h 175"/>
              <a:gd name="T34" fmla="*/ 48 w 87"/>
              <a:gd name="T35" fmla="*/ 127 h 175"/>
              <a:gd name="T36" fmla="*/ 48 w 87"/>
              <a:gd name="T37" fmla="*/ 29 h 175"/>
              <a:gd name="T38" fmla="*/ 33 w 87"/>
              <a:gd name="T39" fmla="*/ 14 h 175"/>
              <a:gd name="T40" fmla="*/ 29 w 87"/>
              <a:gd name="T41" fmla="*/ 14 h 175"/>
              <a:gd name="T42" fmla="*/ 14 w 87"/>
              <a:gd name="T43" fmla="*/ 29 h 175"/>
              <a:gd name="T44" fmla="*/ 14 w 87"/>
              <a:gd name="T45" fmla="*/ 133 h 175"/>
              <a:gd name="T46" fmla="*/ 42 w 87"/>
              <a:gd name="T47" fmla="*/ 161 h 175"/>
              <a:gd name="T48" fmla="*/ 45 w 87"/>
              <a:gd name="T49" fmla="*/ 161 h 175"/>
              <a:gd name="T50" fmla="*/ 73 w 87"/>
              <a:gd name="T51" fmla="*/ 133 h 175"/>
              <a:gd name="T52" fmla="*/ 73 w 87"/>
              <a:gd name="T53" fmla="*/ 59 h 175"/>
              <a:gd name="T54" fmla="*/ 80 w 87"/>
              <a:gd name="T55" fmla="*/ 52 h 175"/>
              <a:gd name="T56" fmla="*/ 87 w 87"/>
              <a:gd name="T57" fmla="*/ 59 h 175"/>
              <a:gd name="T58" fmla="*/ 87 w 87"/>
              <a:gd name="T59" fmla="*/ 133 h 175"/>
              <a:gd name="T60" fmla="*/ 45 w 87"/>
              <a:gd name="T61"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 h="175">
                <a:moveTo>
                  <a:pt x="45" y="175"/>
                </a:moveTo>
                <a:cubicBezTo>
                  <a:pt x="42" y="175"/>
                  <a:pt x="42" y="175"/>
                  <a:pt x="42" y="175"/>
                </a:cubicBezTo>
                <a:cubicBezTo>
                  <a:pt x="19" y="175"/>
                  <a:pt x="0" y="156"/>
                  <a:pt x="0" y="133"/>
                </a:cubicBezTo>
                <a:cubicBezTo>
                  <a:pt x="0" y="29"/>
                  <a:pt x="0" y="29"/>
                  <a:pt x="0" y="29"/>
                </a:cubicBezTo>
                <a:cubicBezTo>
                  <a:pt x="0" y="13"/>
                  <a:pt x="13" y="0"/>
                  <a:pt x="29" y="0"/>
                </a:cubicBezTo>
                <a:cubicBezTo>
                  <a:pt x="33" y="0"/>
                  <a:pt x="33" y="0"/>
                  <a:pt x="33" y="0"/>
                </a:cubicBezTo>
                <a:cubicBezTo>
                  <a:pt x="49" y="0"/>
                  <a:pt x="62" y="13"/>
                  <a:pt x="62" y="29"/>
                </a:cubicBezTo>
                <a:cubicBezTo>
                  <a:pt x="62" y="127"/>
                  <a:pt x="62" y="127"/>
                  <a:pt x="62" y="127"/>
                </a:cubicBezTo>
                <a:cubicBezTo>
                  <a:pt x="62" y="137"/>
                  <a:pt x="54" y="146"/>
                  <a:pt x="44" y="146"/>
                </a:cubicBezTo>
                <a:cubicBezTo>
                  <a:pt x="43" y="146"/>
                  <a:pt x="43" y="146"/>
                  <a:pt x="43" y="146"/>
                </a:cubicBezTo>
                <a:cubicBezTo>
                  <a:pt x="33" y="146"/>
                  <a:pt x="24" y="137"/>
                  <a:pt x="24" y="127"/>
                </a:cubicBezTo>
                <a:cubicBezTo>
                  <a:pt x="24" y="58"/>
                  <a:pt x="24" y="58"/>
                  <a:pt x="24" y="58"/>
                </a:cubicBezTo>
                <a:cubicBezTo>
                  <a:pt x="24" y="55"/>
                  <a:pt x="28" y="51"/>
                  <a:pt x="31" y="51"/>
                </a:cubicBezTo>
                <a:cubicBezTo>
                  <a:pt x="35" y="51"/>
                  <a:pt x="38" y="55"/>
                  <a:pt x="38" y="58"/>
                </a:cubicBezTo>
                <a:cubicBezTo>
                  <a:pt x="38" y="127"/>
                  <a:pt x="38" y="127"/>
                  <a:pt x="38" y="127"/>
                </a:cubicBezTo>
                <a:cubicBezTo>
                  <a:pt x="38" y="129"/>
                  <a:pt x="40" y="132"/>
                  <a:pt x="43" y="132"/>
                </a:cubicBezTo>
                <a:cubicBezTo>
                  <a:pt x="44" y="132"/>
                  <a:pt x="44" y="132"/>
                  <a:pt x="44" y="132"/>
                </a:cubicBezTo>
                <a:cubicBezTo>
                  <a:pt x="46" y="132"/>
                  <a:pt x="48" y="129"/>
                  <a:pt x="48" y="127"/>
                </a:cubicBezTo>
                <a:cubicBezTo>
                  <a:pt x="48" y="29"/>
                  <a:pt x="48" y="29"/>
                  <a:pt x="48" y="29"/>
                </a:cubicBezTo>
                <a:cubicBezTo>
                  <a:pt x="48" y="21"/>
                  <a:pt x="42" y="14"/>
                  <a:pt x="33" y="14"/>
                </a:cubicBezTo>
                <a:cubicBezTo>
                  <a:pt x="29" y="14"/>
                  <a:pt x="29" y="14"/>
                  <a:pt x="29" y="14"/>
                </a:cubicBezTo>
                <a:cubicBezTo>
                  <a:pt x="21" y="14"/>
                  <a:pt x="14" y="21"/>
                  <a:pt x="14" y="29"/>
                </a:cubicBezTo>
                <a:cubicBezTo>
                  <a:pt x="14" y="133"/>
                  <a:pt x="14" y="133"/>
                  <a:pt x="14" y="133"/>
                </a:cubicBezTo>
                <a:cubicBezTo>
                  <a:pt x="14" y="149"/>
                  <a:pt x="27" y="161"/>
                  <a:pt x="42" y="161"/>
                </a:cubicBezTo>
                <a:cubicBezTo>
                  <a:pt x="45" y="161"/>
                  <a:pt x="45" y="161"/>
                  <a:pt x="45" y="161"/>
                </a:cubicBezTo>
                <a:cubicBezTo>
                  <a:pt x="60" y="161"/>
                  <a:pt x="73" y="149"/>
                  <a:pt x="73" y="133"/>
                </a:cubicBezTo>
                <a:cubicBezTo>
                  <a:pt x="73" y="59"/>
                  <a:pt x="73" y="59"/>
                  <a:pt x="73" y="59"/>
                </a:cubicBezTo>
                <a:cubicBezTo>
                  <a:pt x="73" y="55"/>
                  <a:pt x="76" y="52"/>
                  <a:pt x="80" y="52"/>
                </a:cubicBezTo>
                <a:cubicBezTo>
                  <a:pt x="84" y="52"/>
                  <a:pt x="87" y="55"/>
                  <a:pt x="87" y="59"/>
                </a:cubicBezTo>
                <a:cubicBezTo>
                  <a:pt x="87" y="133"/>
                  <a:pt x="87" y="133"/>
                  <a:pt x="87" y="133"/>
                </a:cubicBezTo>
                <a:cubicBezTo>
                  <a:pt x="87" y="156"/>
                  <a:pt x="68" y="175"/>
                  <a:pt x="45" y="175"/>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userDrawn="1"/>
        </p:nvGrpSpPr>
        <p:grpSpPr>
          <a:xfrm rot="1977938">
            <a:off x="997456" y="2350587"/>
            <a:ext cx="756583" cy="993980"/>
            <a:chOff x="9760895" y="1901016"/>
            <a:chExt cx="1086002" cy="1426965"/>
          </a:xfrm>
          <a:solidFill>
            <a:schemeClr val="bg1">
              <a:lumMod val="85000"/>
            </a:schemeClr>
          </a:solidFill>
        </p:grpSpPr>
        <p:sp>
          <p:nvSpPr>
            <p:cNvPr id="51" name="Freeform 36"/>
            <p:cNvSpPr>
              <a:spLocks noEditPoints="1"/>
            </p:cNvSpPr>
            <p:nvPr/>
          </p:nvSpPr>
          <p:spPr bwMode="auto">
            <a:xfrm>
              <a:off x="9760895" y="2406586"/>
              <a:ext cx="916385" cy="921395"/>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52" name="Freeform 36"/>
            <p:cNvSpPr>
              <a:spLocks noEditPoints="1"/>
            </p:cNvSpPr>
            <p:nvPr/>
          </p:nvSpPr>
          <p:spPr bwMode="auto">
            <a:xfrm rot="972397">
              <a:off x="10255481" y="1901016"/>
              <a:ext cx="591416" cy="594649"/>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53" name="Group 52"/>
          <p:cNvGrpSpPr/>
          <p:nvPr userDrawn="1"/>
        </p:nvGrpSpPr>
        <p:grpSpPr>
          <a:xfrm flipH="1">
            <a:off x="8734211" y="1314289"/>
            <a:ext cx="539435" cy="542308"/>
            <a:chOff x="7736253" y="500448"/>
            <a:chExt cx="1746321" cy="1755869"/>
          </a:xfrm>
          <a:solidFill>
            <a:schemeClr val="bg1">
              <a:lumMod val="85000"/>
            </a:schemeClr>
          </a:solidFill>
        </p:grpSpPr>
        <p:sp>
          <p:nvSpPr>
            <p:cNvPr id="54" name="Freeform 36"/>
            <p:cNvSpPr>
              <a:spLocks noEditPoints="1"/>
            </p:cNvSpPr>
            <p:nvPr/>
          </p:nvSpPr>
          <p:spPr bwMode="auto">
            <a:xfrm rot="1977938">
              <a:off x="7736253" y="500448"/>
              <a:ext cx="1746321" cy="1755869"/>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55" name="Oval 54"/>
            <p:cNvSpPr/>
            <p:nvPr/>
          </p:nvSpPr>
          <p:spPr bwMode="auto">
            <a:xfrm>
              <a:off x="8433675" y="1202644"/>
              <a:ext cx="351476" cy="35147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6" name="Freeform 55"/>
          <p:cNvSpPr>
            <a:spLocks/>
          </p:cNvSpPr>
          <p:nvPr userDrawn="1"/>
        </p:nvSpPr>
        <p:spPr bwMode="auto">
          <a:xfrm>
            <a:off x="11292521" y="-614888"/>
            <a:ext cx="738941" cy="1326703"/>
          </a:xfrm>
          <a:custGeom>
            <a:avLst/>
            <a:gdLst>
              <a:gd name="connsiteX0" fmla="*/ 1467572 w 1685925"/>
              <a:gd name="connsiteY0" fmla="*/ 2763838 h 3027362"/>
              <a:gd name="connsiteX1" fmla="*/ 1420813 w 1685925"/>
              <a:gd name="connsiteY1" fmla="*/ 2810669 h 3027362"/>
              <a:gd name="connsiteX2" fmla="*/ 1467572 w 1685925"/>
              <a:gd name="connsiteY2" fmla="*/ 2857500 h 3027362"/>
              <a:gd name="connsiteX3" fmla="*/ 1545504 w 1685925"/>
              <a:gd name="connsiteY3" fmla="*/ 2857500 h 3027362"/>
              <a:gd name="connsiteX4" fmla="*/ 1592263 w 1685925"/>
              <a:gd name="connsiteY4" fmla="*/ 2810669 h 3027362"/>
              <a:gd name="connsiteX5" fmla="*/ 1545504 w 1685925"/>
              <a:gd name="connsiteY5" fmla="*/ 2763838 h 3027362"/>
              <a:gd name="connsiteX6" fmla="*/ 1467572 w 1685925"/>
              <a:gd name="connsiteY6" fmla="*/ 2763838 h 3027362"/>
              <a:gd name="connsiteX7" fmla="*/ 140855 w 1685925"/>
              <a:gd name="connsiteY7" fmla="*/ 2763838 h 3027362"/>
              <a:gd name="connsiteX8" fmla="*/ 93663 w 1685925"/>
              <a:gd name="connsiteY8" fmla="*/ 2810669 h 3027362"/>
              <a:gd name="connsiteX9" fmla="*/ 140855 w 1685925"/>
              <a:gd name="connsiteY9" fmla="*/ 2857500 h 3027362"/>
              <a:gd name="connsiteX10" fmla="*/ 219509 w 1685925"/>
              <a:gd name="connsiteY10" fmla="*/ 2857500 h 3027362"/>
              <a:gd name="connsiteX11" fmla="*/ 266701 w 1685925"/>
              <a:gd name="connsiteY11" fmla="*/ 2810669 h 3027362"/>
              <a:gd name="connsiteX12" fmla="*/ 219509 w 1685925"/>
              <a:gd name="connsiteY12" fmla="*/ 2763838 h 3027362"/>
              <a:gd name="connsiteX13" fmla="*/ 140855 w 1685925"/>
              <a:gd name="connsiteY13" fmla="*/ 2763838 h 3027362"/>
              <a:gd name="connsiteX14" fmla="*/ 765106 w 1685925"/>
              <a:gd name="connsiteY14" fmla="*/ 2717800 h 3027362"/>
              <a:gd name="connsiteX15" fmla="*/ 671513 w 1685925"/>
              <a:gd name="connsiteY15" fmla="*/ 2810119 h 3027362"/>
              <a:gd name="connsiteX16" fmla="*/ 765106 w 1685925"/>
              <a:gd name="connsiteY16" fmla="*/ 2917825 h 3027362"/>
              <a:gd name="connsiteX17" fmla="*/ 936695 w 1685925"/>
              <a:gd name="connsiteY17" fmla="*/ 2917825 h 3027362"/>
              <a:gd name="connsiteX18" fmla="*/ 1030288 w 1685925"/>
              <a:gd name="connsiteY18" fmla="*/ 2810119 h 3027362"/>
              <a:gd name="connsiteX19" fmla="*/ 936695 w 1685925"/>
              <a:gd name="connsiteY19" fmla="*/ 2717800 h 3027362"/>
              <a:gd name="connsiteX20" fmla="*/ 765106 w 1685925"/>
              <a:gd name="connsiteY20" fmla="*/ 2717800 h 3027362"/>
              <a:gd name="connsiteX21" fmla="*/ 93663 w 1685925"/>
              <a:gd name="connsiteY21" fmla="*/ 433388 h 3027362"/>
              <a:gd name="connsiteX22" fmla="*/ 93663 w 1685925"/>
              <a:gd name="connsiteY22" fmla="*/ 2593975 h 3027362"/>
              <a:gd name="connsiteX23" fmla="*/ 1592263 w 1685925"/>
              <a:gd name="connsiteY23" fmla="*/ 2593975 h 3027362"/>
              <a:gd name="connsiteX24" fmla="*/ 1592263 w 1685925"/>
              <a:gd name="connsiteY24" fmla="*/ 433388 h 3027362"/>
              <a:gd name="connsiteX25" fmla="*/ 405871 w 1685925"/>
              <a:gd name="connsiteY25" fmla="*/ 169863 h 3027362"/>
              <a:gd name="connsiteX26" fmla="*/ 374650 w 1685925"/>
              <a:gd name="connsiteY26" fmla="*/ 201613 h 3027362"/>
              <a:gd name="connsiteX27" fmla="*/ 405871 w 1685925"/>
              <a:gd name="connsiteY27" fmla="*/ 217488 h 3027362"/>
              <a:gd name="connsiteX28" fmla="*/ 1280054 w 1685925"/>
              <a:gd name="connsiteY28" fmla="*/ 217488 h 3027362"/>
              <a:gd name="connsiteX29" fmla="*/ 1311275 w 1685925"/>
              <a:gd name="connsiteY29" fmla="*/ 201613 h 3027362"/>
              <a:gd name="connsiteX30" fmla="*/ 1280054 w 1685925"/>
              <a:gd name="connsiteY30" fmla="*/ 169863 h 3027362"/>
              <a:gd name="connsiteX31" fmla="*/ 405871 w 1685925"/>
              <a:gd name="connsiteY31" fmla="*/ 169863 h 3027362"/>
              <a:gd name="connsiteX32" fmla="*/ 140494 w 1685925"/>
              <a:gd name="connsiteY32" fmla="*/ 0 h 3027362"/>
              <a:gd name="connsiteX33" fmla="*/ 1561042 w 1685925"/>
              <a:gd name="connsiteY33" fmla="*/ 0 h 3027362"/>
              <a:gd name="connsiteX34" fmla="*/ 1685925 w 1685925"/>
              <a:gd name="connsiteY34" fmla="*/ 139012 h 3027362"/>
              <a:gd name="connsiteX35" fmla="*/ 1685925 w 1685925"/>
              <a:gd name="connsiteY35" fmla="*/ 2903796 h 3027362"/>
              <a:gd name="connsiteX36" fmla="*/ 1561042 w 1685925"/>
              <a:gd name="connsiteY36" fmla="*/ 3027362 h 3027362"/>
              <a:gd name="connsiteX37" fmla="*/ 140494 w 1685925"/>
              <a:gd name="connsiteY37" fmla="*/ 3027362 h 3027362"/>
              <a:gd name="connsiteX38" fmla="*/ 0 w 1685925"/>
              <a:gd name="connsiteY38" fmla="*/ 2903796 h 3027362"/>
              <a:gd name="connsiteX39" fmla="*/ 0 w 1685925"/>
              <a:gd name="connsiteY39" fmla="*/ 139012 h 3027362"/>
              <a:gd name="connsiteX40" fmla="*/ 140494 w 1685925"/>
              <a:gd name="connsiteY40" fmla="*/ 0 h 302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685925" h="3027362">
                <a:moveTo>
                  <a:pt x="1467572" y="2763838"/>
                </a:moveTo>
                <a:cubicBezTo>
                  <a:pt x="1451986" y="2763838"/>
                  <a:pt x="1420813" y="2795059"/>
                  <a:pt x="1420813" y="2810669"/>
                </a:cubicBezTo>
                <a:cubicBezTo>
                  <a:pt x="1420813" y="2841890"/>
                  <a:pt x="1451986" y="2857500"/>
                  <a:pt x="1467572" y="2857500"/>
                </a:cubicBezTo>
                <a:cubicBezTo>
                  <a:pt x="1467572" y="2857500"/>
                  <a:pt x="1467572" y="2857500"/>
                  <a:pt x="1545504" y="2857500"/>
                </a:cubicBezTo>
                <a:cubicBezTo>
                  <a:pt x="1576677" y="2857500"/>
                  <a:pt x="1592263" y="2841890"/>
                  <a:pt x="1592263" y="2810669"/>
                </a:cubicBezTo>
                <a:cubicBezTo>
                  <a:pt x="1592263" y="2795059"/>
                  <a:pt x="1576677" y="2763838"/>
                  <a:pt x="1545504" y="2763838"/>
                </a:cubicBezTo>
                <a:cubicBezTo>
                  <a:pt x="1545504" y="2763838"/>
                  <a:pt x="1545504" y="2763838"/>
                  <a:pt x="1467572" y="2763838"/>
                </a:cubicBezTo>
                <a:close/>
                <a:moveTo>
                  <a:pt x="140855" y="2763838"/>
                </a:moveTo>
                <a:cubicBezTo>
                  <a:pt x="109394" y="2763838"/>
                  <a:pt x="93663" y="2795059"/>
                  <a:pt x="93663" y="2810669"/>
                </a:cubicBezTo>
                <a:cubicBezTo>
                  <a:pt x="93663" y="2841890"/>
                  <a:pt x="109394" y="2857500"/>
                  <a:pt x="140855" y="2857500"/>
                </a:cubicBezTo>
                <a:cubicBezTo>
                  <a:pt x="140855" y="2857500"/>
                  <a:pt x="140855" y="2857500"/>
                  <a:pt x="219509" y="2857500"/>
                </a:cubicBezTo>
                <a:cubicBezTo>
                  <a:pt x="235240" y="2857500"/>
                  <a:pt x="266701" y="2841890"/>
                  <a:pt x="266701" y="2810669"/>
                </a:cubicBezTo>
                <a:cubicBezTo>
                  <a:pt x="266701" y="2795059"/>
                  <a:pt x="235240" y="2763838"/>
                  <a:pt x="219509" y="2763838"/>
                </a:cubicBezTo>
                <a:cubicBezTo>
                  <a:pt x="219509" y="2763838"/>
                  <a:pt x="219509" y="2763838"/>
                  <a:pt x="140855" y="2763838"/>
                </a:cubicBezTo>
                <a:close/>
                <a:moveTo>
                  <a:pt x="765106" y="2717800"/>
                </a:moveTo>
                <a:cubicBezTo>
                  <a:pt x="702711" y="2717800"/>
                  <a:pt x="671513" y="2763960"/>
                  <a:pt x="671513" y="2810119"/>
                </a:cubicBezTo>
                <a:cubicBezTo>
                  <a:pt x="671513" y="2871666"/>
                  <a:pt x="702711" y="2917825"/>
                  <a:pt x="765106" y="2917825"/>
                </a:cubicBezTo>
                <a:cubicBezTo>
                  <a:pt x="765106" y="2917825"/>
                  <a:pt x="765106" y="2917825"/>
                  <a:pt x="936695" y="2917825"/>
                </a:cubicBezTo>
                <a:cubicBezTo>
                  <a:pt x="983491" y="2917825"/>
                  <a:pt x="1030288" y="2871666"/>
                  <a:pt x="1030288" y="2810119"/>
                </a:cubicBezTo>
                <a:cubicBezTo>
                  <a:pt x="1030288" y="2763960"/>
                  <a:pt x="983491" y="2717800"/>
                  <a:pt x="936695" y="2717800"/>
                </a:cubicBezTo>
                <a:cubicBezTo>
                  <a:pt x="936695" y="2717800"/>
                  <a:pt x="936695" y="2717800"/>
                  <a:pt x="765106" y="2717800"/>
                </a:cubicBezTo>
                <a:close/>
                <a:moveTo>
                  <a:pt x="93663" y="433388"/>
                </a:moveTo>
                <a:lnTo>
                  <a:pt x="93663" y="2593975"/>
                </a:lnTo>
                <a:lnTo>
                  <a:pt x="1592263" y="2593975"/>
                </a:lnTo>
                <a:lnTo>
                  <a:pt x="1592263" y="433388"/>
                </a:lnTo>
                <a:close/>
                <a:moveTo>
                  <a:pt x="405871" y="169863"/>
                </a:moveTo>
                <a:cubicBezTo>
                  <a:pt x="390260" y="169863"/>
                  <a:pt x="374650" y="185738"/>
                  <a:pt x="374650" y="201613"/>
                </a:cubicBezTo>
                <a:cubicBezTo>
                  <a:pt x="374650" y="217488"/>
                  <a:pt x="390260" y="217488"/>
                  <a:pt x="405871" y="217488"/>
                </a:cubicBezTo>
                <a:cubicBezTo>
                  <a:pt x="405871" y="217488"/>
                  <a:pt x="405871" y="217488"/>
                  <a:pt x="1280054" y="217488"/>
                </a:cubicBezTo>
                <a:cubicBezTo>
                  <a:pt x="1295665" y="217488"/>
                  <a:pt x="1311275" y="217488"/>
                  <a:pt x="1311275" y="201613"/>
                </a:cubicBezTo>
                <a:cubicBezTo>
                  <a:pt x="1311275" y="185738"/>
                  <a:pt x="1295665" y="169863"/>
                  <a:pt x="1280054" y="169863"/>
                </a:cubicBezTo>
                <a:cubicBezTo>
                  <a:pt x="1280054" y="169863"/>
                  <a:pt x="1280054" y="169863"/>
                  <a:pt x="405871" y="169863"/>
                </a:cubicBezTo>
                <a:close/>
                <a:moveTo>
                  <a:pt x="140494" y="0"/>
                </a:moveTo>
                <a:cubicBezTo>
                  <a:pt x="1561042" y="0"/>
                  <a:pt x="1561042" y="0"/>
                  <a:pt x="1561042" y="0"/>
                </a:cubicBezTo>
                <a:cubicBezTo>
                  <a:pt x="1623483" y="0"/>
                  <a:pt x="1685925" y="61783"/>
                  <a:pt x="1685925" y="139012"/>
                </a:cubicBezTo>
                <a:lnTo>
                  <a:pt x="1685925" y="2903796"/>
                </a:lnTo>
                <a:cubicBezTo>
                  <a:pt x="1685925" y="2981025"/>
                  <a:pt x="1623483" y="3027362"/>
                  <a:pt x="1561042" y="3027362"/>
                </a:cubicBezTo>
                <a:cubicBezTo>
                  <a:pt x="140494" y="3027362"/>
                  <a:pt x="140494" y="3027362"/>
                  <a:pt x="140494" y="3027362"/>
                </a:cubicBezTo>
                <a:cubicBezTo>
                  <a:pt x="62442" y="3027362"/>
                  <a:pt x="0" y="2981025"/>
                  <a:pt x="0" y="2903796"/>
                </a:cubicBezTo>
                <a:cubicBezTo>
                  <a:pt x="0" y="139012"/>
                  <a:pt x="0" y="139012"/>
                  <a:pt x="0" y="139012"/>
                </a:cubicBezTo>
                <a:cubicBezTo>
                  <a:pt x="0" y="61783"/>
                  <a:pt x="62442" y="0"/>
                  <a:pt x="1404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57" name="Group 56"/>
          <p:cNvGrpSpPr/>
          <p:nvPr userDrawn="1"/>
        </p:nvGrpSpPr>
        <p:grpSpPr>
          <a:xfrm>
            <a:off x="2364430" y="-114337"/>
            <a:ext cx="291138" cy="508238"/>
            <a:chOff x="2002633" y="274980"/>
            <a:chExt cx="420500" cy="734168"/>
          </a:xfrm>
          <a:solidFill>
            <a:schemeClr val="bg1">
              <a:lumMod val="85000"/>
            </a:schemeClr>
          </a:solidFill>
        </p:grpSpPr>
        <p:sp>
          <p:nvSpPr>
            <p:cNvPr id="58" name="Freeform 10"/>
            <p:cNvSpPr>
              <a:spLocks/>
            </p:cNvSpPr>
            <p:nvPr/>
          </p:nvSpPr>
          <p:spPr bwMode="auto">
            <a:xfrm>
              <a:off x="2002633" y="274980"/>
              <a:ext cx="420500" cy="515182"/>
            </a:xfrm>
            <a:custGeom>
              <a:avLst/>
              <a:gdLst>
                <a:gd name="T0" fmla="*/ 548 w 548"/>
                <a:gd name="T1" fmla="*/ 274 h 670"/>
                <a:gd name="T2" fmla="*/ 274 w 548"/>
                <a:gd name="T3" fmla="*/ 0 h 670"/>
                <a:gd name="T4" fmla="*/ 0 w 548"/>
                <a:gd name="T5" fmla="*/ 274 h 670"/>
                <a:gd name="T6" fmla="*/ 31 w 548"/>
                <a:gd name="T7" fmla="*/ 400 h 670"/>
                <a:gd name="T8" fmla="*/ 31 w 548"/>
                <a:gd name="T9" fmla="*/ 400 h 670"/>
                <a:gd name="T10" fmla="*/ 31 w 548"/>
                <a:gd name="T11" fmla="*/ 401 h 670"/>
                <a:gd name="T12" fmla="*/ 59 w 548"/>
                <a:gd name="T13" fmla="*/ 444 h 670"/>
                <a:gd name="T14" fmla="*/ 149 w 548"/>
                <a:gd name="T15" fmla="*/ 670 h 670"/>
                <a:gd name="T16" fmla="*/ 402 w 548"/>
                <a:gd name="T17" fmla="*/ 670 h 670"/>
                <a:gd name="T18" fmla="*/ 520 w 548"/>
                <a:gd name="T19" fmla="*/ 400 h 670"/>
                <a:gd name="T20" fmla="*/ 517 w 548"/>
                <a:gd name="T21" fmla="*/ 401 h 670"/>
                <a:gd name="T22" fmla="*/ 548 w 548"/>
                <a:gd name="T23" fmla="*/ 274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670">
                  <a:moveTo>
                    <a:pt x="548" y="274"/>
                  </a:moveTo>
                  <a:cubicBezTo>
                    <a:pt x="548" y="123"/>
                    <a:pt x="426" y="0"/>
                    <a:pt x="274" y="0"/>
                  </a:cubicBezTo>
                  <a:cubicBezTo>
                    <a:pt x="123" y="0"/>
                    <a:pt x="0" y="123"/>
                    <a:pt x="0" y="274"/>
                  </a:cubicBezTo>
                  <a:cubicBezTo>
                    <a:pt x="0" y="320"/>
                    <a:pt x="11" y="363"/>
                    <a:pt x="31" y="400"/>
                  </a:cubicBezTo>
                  <a:cubicBezTo>
                    <a:pt x="31" y="400"/>
                    <a:pt x="31" y="400"/>
                    <a:pt x="31" y="400"/>
                  </a:cubicBezTo>
                  <a:cubicBezTo>
                    <a:pt x="31" y="400"/>
                    <a:pt x="31" y="401"/>
                    <a:pt x="31" y="401"/>
                  </a:cubicBezTo>
                  <a:cubicBezTo>
                    <a:pt x="39" y="416"/>
                    <a:pt x="49" y="430"/>
                    <a:pt x="59" y="444"/>
                  </a:cubicBezTo>
                  <a:cubicBezTo>
                    <a:pt x="146" y="585"/>
                    <a:pt x="149" y="656"/>
                    <a:pt x="149" y="670"/>
                  </a:cubicBezTo>
                  <a:cubicBezTo>
                    <a:pt x="402" y="670"/>
                    <a:pt x="402" y="670"/>
                    <a:pt x="402" y="670"/>
                  </a:cubicBezTo>
                  <a:cubicBezTo>
                    <a:pt x="402" y="654"/>
                    <a:pt x="405" y="570"/>
                    <a:pt x="520" y="400"/>
                  </a:cubicBezTo>
                  <a:cubicBezTo>
                    <a:pt x="517" y="401"/>
                    <a:pt x="517" y="401"/>
                    <a:pt x="517" y="401"/>
                  </a:cubicBezTo>
                  <a:cubicBezTo>
                    <a:pt x="537" y="363"/>
                    <a:pt x="548" y="320"/>
                    <a:pt x="548" y="274"/>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8"/>
            <p:cNvSpPr>
              <a:spLocks/>
            </p:cNvSpPr>
            <p:nvPr/>
          </p:nvSpPr>
          <p:spPr bwMode="auto">
            <a:xfrm>
              <a:off x="2091746" y="825353"/>
              <a:ext cx="242275" cy="183795"/>
            </a:xfrm>
            <a:custGeom>
              <a:avLst/>
              <a:gdLst>
                <a:gd name="T0" fmla="*/ 243 w 312"/>
                <a:gd name="T1" fmla="*/ 114 h 239"/>
                <a:gd name="T2" fmla="*/ 309 w 312"/>
                <a:gd name="T3" fmla="*/ 8 h 239"/>
                <a:gd name="T4" fmla="*/ 304 w 312"/>
                <a:gd name="T5" fmla="*/ 0 h 239"/>
                <a:gd name="T6" fmla="*/ 7 w 312"/>
                <a:gd name="T7" fmla="*/ 0 h 239"/>
                <a:gd name="T8" fmla="*/ 3 w 312"/>
                <a:gd name="T9" fmla="*/ 8 h 239"/>
                <a:gd name="T10" fmla="*/ 80 w 312"/>
                <a:gd name="T11" fmla="*/ 115 h 239"/>
                <a:gd name="T12" fmla="*/ 86 w 312"/>
                <a:gd name="T13" fmla="*/ 120 h 239"/>
                <a:gd name="T14" fmla="*/ 82 w 312"/>
                <a:gd name="T15" fmla="*/ 133 h 239"/>
                <a:gd name="T16" fmla="*/ 88 w 312"/>
                <a:gd name="T17" fmla="*/ 149 h 239"/>
                <a:gd name="T18" fmla="*/ 82 w 312"/>
                <a:gd name="T19" fmla="*/ 164 h 239"/>
                <a:gd name="T20" fmla="*/ 88 w 312"/>
                <a:gd name="T21" fmla="*/ 180 h 239"/>
                <a:gd name="T22" fmla="*/ 82 w 312"/>
                <a:gd name="T23" fmla="*/ 196 h 239"/>
                <a:gd name="T24" fmla="*/ 106 w 312"/>
                <a:gd name="T25" fmla="*/ 219 h 239"/>
                <a:gd name="T26" fmla="*/ 122 w 312"/>
                <a:gd name="T27" fmla="*/ 219 h 239"/>
                <a:gd name="T28" fmla="*/ 135 w 312"/>
                <a:gd name="T29" fmla="*/ 237 h 239"/>
                <a:gd name="T30" fmla="*/ 139 w 312"/>
                <a:gd name="T31" fmla="*/ 239 h 239"/>
                <a:gd name="T32" fmla="*/ 193 w 312"/>
                <a:gd name="T33" fmla="*/ 239 h 239"/>
                <a:gd name="T34" fmla="*/ 197 w 312"/>
                <a:gd name="T35" fmla="*/ 237 h 239"/>
                <a:gd name="T36" fmla="*/ 208 w 312"/>
                <a:gd name="T37" fmla="*/ 219 h 239"/>
                <a:gd name="T38" fmla="*/ 222 w 312"/>
                <a:gd name="T39" fmla="*/ 219 h 239"/>
                <a:gd name="T40" fmla="*/ 245 w 312"/>
                <a:gd name="T41" fmla="*/ 196 h 239"/>
                <a:gd name="T42" fmla="*/ 239 w 312"/>
                <a:gd name="T43" fmla="*/ 180 h 239"/>
                <a:gd name="T44" fmla="*/ 245 w 312"/>
                <a:gd name="T45" fmla="*/ 164 h 239"/>
                <a:gd name="T46" fmla="*/ 239 w 312"/>
                <a:gd name="T47" fmla="*/ 149 h 239"/>
                <a:gd name="T48" fmla="*/ 245 w 312"/>
                <a:gd name="T49" fmla="*/ 133 h 239"/>
                <a:gd name="T50" fmla="*/ 240 w 312"/>
                <a:gd name="T51" fmla="*/ 118 h 239"/>
                <a:gd name="T52" fmla="*/ 243 w 312"/>
                <a:gd name="T53" fmla="*/ 1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2" h="239">
                  <a:moveTo>
                    <a:pt x="243" y="114"/>
                  </a:moveTo>
                  <a:cubicBezTo>
                    <a:pt x="309" y="8"/>
                    <a:pt x="309" y="8"/>
                    <a:pt x="309" y="8"/>
                  </a:cubicBezTo>
                  <a:cubicBezTo>
                    <a:pt x="312" y="4"/>
                    <a:pt x="310" y="0"/>
                    <a:pt x="304" y="0"/>
                  </a:cubicBezTo>
                  <a:cubicBezTo>
                    <a:pt x="7" y="0"/>
                    <a:pt x="7" y="0"/>
                    <a:pt x="7" y="0"/>
                  </a:cubicBezTo>
                  <a:cubicBezTo>
                    <a:pt x="2" y="0"/>
                    <a:pt x="0" y="4"/>
                    <a:pt x="3" y="8"/>
                  </a:cubicBezTo>
                  <a:cubicBezTo>
                    <a:pt x="80" y="115"/>
                    <a:pt x="80" y="115"/>
                    <a:pt x="80" y="115"/>
                  </a:cubicBezTo>
                  <a:cubicBezTo>
                    <a:pt x="81" y="117"/>
                    <a:pt x="84" y="119"/>
                    <a:pt x="86" y="120"/>
                  </a:cubicBezTo>
                  <a:cubicBezTo>
                    <a:pt x="84" y="124"/>
                    <a:pt x="82" y="129"/>
                    <a:pt x="82" y="133"/>
                  </a:cubicBezTo>
                  <a:cubicBezTo>
                    <a:pt x="82" y="139"/>
                    <a:pt x="84" y="144"/>
                    <a:pt x="88" y="149"/>
                  </a:cubicBezTo>
                  <a:cubicBezTo>
                    <a:pt x="84" y="153"/>
                    <a:pt x="82" y="158"/>
                    <a:pt x="82" y="164"/>
                  </a:cubicBezTo>
                  <a:cubicBezTo>
                    <a:pt x="82" y="171"/>
                    <a:pt x="84" y="176"/>
                    <a:pt x="88" y="180"/>
                  </a:cubicBezTo>
                  <a:cubicBezTo>
                    <a:pt x="84" y="184"/>
                    <a:pt x="82" y="190"/>
                    <a:pt x="82" y="196"/>
                  </a:cubicBezTo>
                  <a:cubicBezTo>
                    <a:pt x="82" y="209"/>
                    <a:pt x="93" y="219"/>
                    <a:pt x="106" y="219"/>
                  </a:cubicBezTo>
                  <a:cubicBezTo>
                    <a:pt x="122" y="219"/>
                    <a:pt x="122" y="219"/>
                    <a:pt x="122" y="219"/>
                  </a:cubicBezTo>
                  <a:cubicBezTo>
                    <a:pt x="135" y="237"/>
                    <a:pt x="135" y="237"/>
                    <a:pt x="135" y="237"/>
                  </a:cubicBezTo>
                  <a:cubicBezTo>
                    <a:pt x="136" y="238"/>
                    <a:pt x="137" y="239"/>
                    <a:pt x="139" y="239"/>
                  </a:cubicBezTo>
                  <a:cubicBezTo>
                    <a:pt x="193" y="239"/>
                    <a:pt x="193" y="239"/>
                    <a:pt x="193" y="239"/>
                  </a:cubicBezTo>
                  <a:cubicBezTo>
                    <a:pt x="194" y="239"/>
                    <a:pt x="196" y="238"/>
                    <a:pt x="197" y="237"/>
                  </a:cubicBezTo>
                  <a:cubicBezTo>
                    <a:pt x="208" y="219"/>
                    <a:pt x="208" y="219"/>
                    <a:pt x="208" y="219"/>
                  </a:cubicBezTo>
                  <a:cubicBezTo>
                    <a:pt x="222" y="219"/>
                    <a:pt x="222" y="219"/>
                    <a:pt x="222" y="219"/>
                  </a:cubicBezTo>
                  <a:cubicBezTo>
                    <a:pt x="235" y="219"/>
                    <a:pt x="245" y="209"/>
                    <a:pt x="245" y="196"/>
                  </a:cubicBezTo>
                  <a:cubicBezTo>
                    <a:pt x="245" y="190"/>
                    <a:pt x="243" y="184"/>
                    <a:pt x="239" y="180"/>
                  </a:cubicBezTo>
                  <a:cubicBezTo>
                    <a:pt x="243" y="176"/>
                    <a:pt x="245" y="171"/>
                    <a:pt x="245" y="164"/>
                  </a:cubicBezTo>
                  <a:cubicBezTo>
                    <a:pt x="245" y="158"/>
                    <a:pt x="243" y="153"/>
                    <a:pt x="239" y="149"/>
                  </a:cubicBezTo>
                  <a:cubicBezTo>
                    <a:pt x="243" y="144"/>
                    <a:pt x="245" y="139"/>
                    <a:pt x="245" y="133"/>
                  </a:cubicBezTo>
                  <a:cubicBezTo>
                    <a:pt x="245" y="128"/>
                    <a:pt x="243" y="122"/>
                    <a:pt x="240" y="118"/>
                  </a:cubicBezTo>
                  <a:cubicBezTo>
                    <a:pt x="241" y="117"/>
                    <a:pt x="242" y="115"/>
                    <a:pt x="243" y="114"/>
                  </a:cubicBezTo>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0" name="Group 59"/>
          <p:cNvGrpSpPr/>
          <p:nvPr userDrawn="1"/>
        </p:nvGrpSpPr>
        <p:grpSpPr>
          <a:xfrm>
            <a:off x="12219486" y="2870631"/>
            <a:ext cx="773089" cy="1349577"/>
            <a:chOff x="2002633" y="274980"/>
            <a:chExt cx="420500" cy="734168"/>
          </a:xfrm>
          <a:solidFill>
            <a:schemeClr val="bg1">
              <a:lumMod val="85000"/>
            </a:schemeClr>
          </a:solidFill>
        </p:grpSpPr>
        <p:sp>
          <p:nvSpPr>
            <p:cNvPr id="61" name="Freeform 10"/>
            <p:cNvSpPr>
              <a:spLocks/>
            </p:cNvSpPr>
            <p:nvPr/>
          </p:nvSpPr>
          <p:spPr bwMode="auto">
            <a:xfrm>
              <a:off x="2002633" y="274980"/>
              <a:ext cx="420500" cy="515182"/>
            </a:xfrm>
            <a:custGeom>
              <a:avLst/>
              <a:gdLst>
                <a:gd name="T0" fmla="*/ 548 w 548"/>
                <a:gd name="T1" fmla="*/ 274 h 670"/>
                <a:gd name="T2" fmla="*/ 274 w 548"/>
                <a:gd name="T3" fmla="*/ 0 h 670"/>
                <a:gd name="T4" fmla="*/ 0 w 548"/>
                <a:gd name="T5" fmla="*/ 274 h 670"/>
                <a:gd name="T6" fmla="*/ 31 w 548"/>
                <a:gd name="T7" fmla="*/ 400 h 670"/>
                <a:gd name="T8" fmla="*/ 31 w 548"/>
                <a:gd name="T9" fmla="*/ 400 h 670"/>
                <a:gd name="T10" fmla="*/ 31 w 548"/>
                <a:gd name="T11" fmla="*/ 401 h 670"/>
                <a:gd name="T12" fmla="*/ 59 w 548"/>
                <a:gd name="T13" fmla="*/ 444 h 670"/>
                <a:gd name="T14" fmla="*/ 149 w 548"/>
                <a:gd name="T15" fmla="*/ 670 h 670"/>
                <a:gd name="T16" fmla="*/ 402 w 548"/>
                <a:gd name="T17" fmla="*/ 670 h 670"/>
                <a:gd name="T18" fmla="*/ 520 w 548"/>
                <a:gd name="T19" fmla="*/ 400 h 670"/>
                <a:gd name="T20" fmla="*/ 517 w 548"/>
                <a:gd name="T21" fmla="*/ 401 h 670"/>
                <a:gd name="T22" fmla="*/ 548 w 548"/>
                <a:gd name="T23" fmla="*/ 274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8" h="670">
                  <a:moveTo>
                    <a:pt x="548" y="274"/>
                  </a:moveTo>
                  <a:cubicBezTo>
                    <a:pt x="548" y="123"/>
                    <a:pt x="426" y="0"/>
                    <a:pt x="274" y="0"/>
                  </a:cubicBezTo>
                  <a:cubicBezTo>
                    <a:pt x="123" y="0"/>
                    <a:pt x="0" y="123"/>
                    <a:pt x="0" y="274"/>
                  </a:cubicBezTo>
                  <a:cubicBezTo>
                    <a:pt x="0" y="320"/>
                    <a:pt x="11" y="363"/>
                    <a:pt x="31" y="400"/>
                  </a:cubicBezTo>
                  <a:cubicBezTo>
                    <a:pt x="31" y="400"/>
                    <a:pt x="31" y="400"/>
                    <a:pt x="31" y="400"/>
                  </a:cubicBezTo>
                  <a:cubicBezTo>
                    <a:pt x="31" y="400"/>
                    <a:pt x="31" y="401"/>
                    <a:pt x="31" y="401"/>
                  </a:cubicBezTo>
                  <a:cubicBezTo>
                    <a:pt x="39" y="416"/>
                    <a:pt x="49" y="430"/>
                    <a:pt x="59" y="444"/>
                  </a:cubicBezTo>
                  <a:cubicBezTo>
                    <a:pt x="146" y="585"/>
                    <a:pt x="149" y="656"/>
                    <a:pt x="149" y="670"/>
                  </a:cubicBezTo>
                  <a:cubicBezTo>
                    <a:pt x="402" y="670"/>
                    <a:pt x="402" y="670"/>
                    <a:pt x="402" y="670"/>
                  </a:cubicBezTo>
                  <a:cubicBezTo>
                    <a:pt x="402" y="654"/>
                    <a:pt x="405" y="570"/>
                    <a:pt x="520" y="400"/>
                  </a:cubicBezTo>
                  <a:cubicBezTo>
                    <a:pt x="517" y="401"/>
                    <a:pt x="517" y="401"/>
                    <a:pt x="517" y="401"/>
                  </a:cubicBezTo>
                  <a:cubicBezTo>
                    <a:pt x="537" y="363"/>
                    <a:pt x="548" y="320"/>
                    <a:pt x="548" y="274"/>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62" name="Freeform 8"/>
            <p:cNvSpPr>
              <a:spLocks/>
            </p:cNvSpPr>
            <p:nvPr/>
          </p:nvSpPr>
          <p:spPr bwMode="auto">
            <a:xfrm>
              <a:off x="2091746" y="825353"/>
              <a:ext cx="242275" cy="183795"/>
            </a:xfrm>
            <a:custGeom>
              <a:avLst/>
              <a:gdLst>
                <a:gd name="T0" fmla="*/ 243 w 312"/>
                <a:gd name="T1" fmla="*/ 114 h 239"/>
                <a:gd name="T2" fmla="*/ 309 w 312"/>
                <a:gd name="T3" fmla="*/ 8 h 239"/>
                <a:gd name="T4" fmla="*/ 304 w 312"/>
                <a:gd name="T5" fmla="*/ 0 h 239"/>
                <a:gd name="T6" fmla="*/ 7 w 312"/>
                <a:gd name="T7" fmla="*/ 0 h 239"/>
                <a:gd name="T8" fmla="*/ 3 w 312"/>
                <a:gd name="T9" fmla="*/ 8 h 239"/>
                <a:gd name="T10" fmla="*/ 80 w 312"/>
                <a:gd name="T11" fmla="*/ 115 h 239"/>
                <a:gd name="T12" fmla="*/ 86 w 312"/>
                <a:gd name="T13" fmla="*/ 120 h 239"/>
                <a:gd name="T14" fmla="*/ 82 w 312"/>
                <a:gd name="T15" fmla="*/ 133 h 239"/>
                <a:gd name="T16" fmla="*/ 88 w 312"/>
                <a:gd name="T17" fmla="*/ 149 h 239"/>
                <a:gd name="T18" fmla="*/ 82 w 312"/>
                <a:gd name="T19" fmla="*/ 164 h 239"/>
                <a:gd name="T20" fmla="*/ 88 w 312"/>
                <a:gd name="T21" fmla="*/ 180 h 239"/>
                <a:gd name="T22" fmla="*/ 82 w 312"/>
                <a:gd name="T23" fmla="*/ 196 h 239"/>
                <a:gd name="T24" fmla="*/ 106 w 312"/>
                <a:gd name="T25" fmla="*/ 219 h 239"/>
                <a:gd name="T26" fmla="*/ 122 w 312"/>
                <a:gd name="T27" fmla="*/ 219 h 239"/>
                <a:gd name="T28" fmla="*/ 135 w 312"/>
                <a:gd name="T29" fmla="*/ 237 h 239"/>
                <a:gd name="T30" fmla="*/ 139 w 312"/>
                <a:gd name="T31" fmla="*/ 239 h 239"/>
                <a:gd name="T32" fmla="*/ 193 w 312"/>
                <a:gd name="T33" fmla="*/ 239 h 239"/>
                <a:gd name="T34" fmla="*/ 197 w 312"/>
                <a:gd name="T35" fmla="*/ 237 h 239"/>
                <a:gd name="T36" fmla="*/ 208 w 312"/>
                <a:gd name="T37" fmla="*/ 219 h 239"/>
                <a:gd name="T38" fmla="*/ 222 w 312"/>
                <a:gd name="T39" fmla="*/ 219 h 239"/>
                <a:gd name="T40" fmla="*/ 245 w 312"/>
                <a:gd name="T41" fmla="*/ 196 h 239"/>
                <a:gd name="T42" fmla="*/ 239 w 312"/>
                <a:gd name="T43" fmla="*/ 180 h 239"/>
                <a:gd name="T44" fmla="*/ 245 w 312"/>
                <a:gd name="T45" fmla="*/ 164 h 239"/>
                <a:gd name="T46" fmla="*/ 239 w 312"/>
                <a:gd name="T47" fmla="*/ 149 h 239"/>
                <a:gd name="T48" fmla="*/ 245 w 312"/>
                <a:gd name="T49" fmla="*/ 133 h 239"/>
                <a:gd name="T50" fmla="*/ 240 w 312"/>
                <a:gd name="T51" fmla="*/ 118 h 239"/>
                <a:gd name="T52" fmla="*/ 243 w 312"/>
                <a:gd name="T53" fmla="*/ 114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2" h="239">
                  <a:moveTo>
                    <a:pt x="243" y="114"/>
                  </a:moveTo>
                  <a:cubicBezTo>
                    <a:pt x="309" y="8"/>
                    <a:pt x="309" y="8"/>
                    <a:pt x="309" y="8"/>
                  </a:cubicBezTo>
                  <a:cubicBezTo>
                    <a:pt x="312" y="4"/>
                    <a:pt x="310" y="0"/>
                    <a:pt x="304" y="0"/>
                  </a:cubicBezTo>
                  <a:cubicBezTo>
                    <a:pt x="7" y="0"/>
                    <a:pt x="7" y="0"/>
                    <a:pt x="7" y="0"/>
                  </a:cubicBezTo>
                  <a:cubicBezTo>
                    <a:pt x="2" y="0"/>
                    <a:pt x="0" y="4"/>
                    <a:pt x="3" y="8"/>
                  </a:cubicBezTo>
                  <a:cubicBezTo>
                    <a:pt x="80" y="115"/>
                    <a:pt x="80" y="115"/>
                    <a:pt x="80" y="115"/>
                  </a:cubicBezTo>
                  <a:cubicBezTo>
                    <a:pt x="81" y="117"/>
                    <a:pt x="84" y="119"/>
                    <a:pt x="86" y="120"/>
                  </a:cubicBezTo>
                  <a:cubicBezTo>
                    <a:pt x="84" y="124"/>
                    <a:pt x="82" y="129"/>
                    <a:pt x="82" y="133"/>
                  </a:cubicBezTo>
                  <a:cubicBezTo>
                    <a:pt x="82" y="139"/>
                    <a:pt x="84" y="144"/>
                    <a:pt x="88" y="149"/>
                  </a:cubicBezTo>
                  <a:cubicBezTo>
                    <a:pt x="84" y="153"/>
                    <a:pt x="82" y="158"/>
                    <a:pt x="82" y="164"/>
                  </a:cubicBezTo>
                  <a:cubicBezTo>
                    <a:pt x="82" y="171"/>
                    <a:pt x="84" y="176"/>
                    <a:pt x="88" y="180"/>
                  </a:cubicBezTo>
                  <a:cubicBezTo>
                    <a:pt x="84" y="184"/>
                    <a:pt x="82" y="190"/>
                    <a:pt x="82" y="196"/>
                  </a:cubicBezTo>
                  <a:cubicBezTo>
                    <a:pt x="82" y="209"/>
                    <a:pt x="93" y="219"/>
                    <a:pt x="106" y="219"/>
                  </a:cubicBezTo>
                  <a:cubicBezTo>
                    <a:pt x="122" y="219"/>
                    <a:pt x="122" y="219"/>
                    <a:pt x="122" y="219"/>
                  </a:cubicBezTo>
                  <a:cubicBezTo>
                    <a:pt x="135" y="237"/>
                    <a:pt x="135" y="237"/>
                    <a:pt x="135" y="237"/>
                  </a:cubicBezTo>
                  <a:cubicBezTo>
                    <a:pt x="136" y="238"/>
                    <a:pt x="137" y="239"/>
                    <a:pt x="139" y="239"/>
                  </a:cubicBezTo>
                  <a:cubicBezTo>
                    <a:pt x="193" y="239"/>
                    <a:pt x="193" y="239"/>
                    <a:pt x="193" y="239"/>
                  </a:cubicBezTo>
                  <a:cubicBezTo>
                    <a:pt x="194" y="239"/>
                    <a:pt x="196" y="238"/>
                    <a:pt x="197" y="237"/>
                  </a:cubicBezTo>
                  <a:cubicBezTo>
                    <a:pt x="208" y="219"/>
                    <a:pt x="208" y="219"/>
                    <a:pt x="208" y="219"/>
                  </a:cubicBezTo>
                  <a:cubicBezTo>
                    <a:pt x="222" y="219"/>
                    <a:pt x="222" y="219"/>
                    <a:pt x="222" y="219"/>
                  </a:cubicBezTo>
                  <a:cubicBezTo>
                    <a:pt x="235" y="219"/>
                    <a:pt x="245" y="209"/>
                    <a:pt x="245" y="196"/>
                  </a:cubicBezTo>
                  <a:cubicBezTo>
                    <a:pt x="245" y="190"/>
                    <a:pt x="243" y="184"/>
                    <a:pt x="239" y="180"/>
                  </a:cubicBezTo>
                  <a:cubicBezTo>
                    <a:pt x="243" y="176"/>
                    <a:pt x="245" y="171"/>
                    <a:pt x="245" y="164"/>
                  </a:cubicBezTo>
                  <a:cubicBezTo>
                    <a:pt x="245" y="158"/>
                    <a:pt x="243" y="153"/>
                    <a:pt x="239" y="149"/>
                  </a:cubicBezTo>
                  <a:cubicBezTo>
                    <a:pt x="243" y="144"/>
                    <a:pt x="245" y="139"/>
                    <a:pt x="245" y="133"/>
                  </a:cubicBezTo>
                  <a:cubicBezTo>
                    <a:pt x="245" y="128"/>
                    <a:pt x="243" y="122"/>
                    <a:pt x="240" y="118"/>
                  </a:cubicBezTo>
                  <a:cubicBezTo>
                    <a:pt x="241" y="117"/>
                    <a:pt x="242" y="115"/>
                    <a:pt x="243" y="114"/>
                  </a:cubicBezTo>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63" name="Group 62"/>
          <p:cNvGrpSpPr/>
          <p:nvPr userDrawn="1"/>
        </p:nvGrpSpPr>
        <p:grpSpPr>
          <a:xfrm>
            <a:off x="888203" y="6718399"/>
            <a:ext cx="810002" cy="484246"/>
            <a:chOff x="2453634" y="7289176"/>
            <a:chExt cx="3764603" cy="2250921"/>
          </a:xfrm>
          <a:solidFill>
            <a:schemeClr val="bg1">
              <a:lumMod val="85000"/>
            </a:schemeClr>
          </a:solidFill>
        </p:grpSpPr>
        <p:sp>
          <p:nvSpPr>
            <p:cNvPr id="64" name="Freeform 63"/>
            <p:cNvSpPr/>
            <p:nvPr/>
          </p:nvSpPr>
          <p:spPr bwMode="auto">
            <a:xfrm>
              <a:off x="2453634" y="7289176"/>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5" name="Freeform 64"/>
            <p:cNvSpPr/>
            <p:nvPr/>
          </p:nvSpPr>
          <p:spPr bwMode="auto">
            <a:xfrm>
              <a:off x="2453634" y="8088448"/>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66" name="Freeform 65"/>
            <p:cNvSpPr/>
            <p:nvPr/>
          </p:nvSpPr>
          <p:spPr bwMode="auto">
            <a:xfrm>
              <a:off x="2453634" y="8887719"/>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67" name="Freeform 66"/>
          <p:cNvSpPr>
            <a:spLocks noChangeArrowheads="1"/>
          </p:cNvSpPr>
          <p:nvPr userDrawn="1"/>
        </p:nvSpPr>
        <p:spPr bwMode="auto">
          <a:xfrm>
            <a:off x="8860590" y="2080599"/>
            <a:ext cx="394751" cy="503438"/>
          </a:xfrm>
          <a:custGeom>
            <a:avLst/>
            <a:gdLst>
              <a:gd name="connsiteX0" fmla="*/ 559482 w 1107662"/>
              <a:gd name="connsiteY0" fmla="*/ 339080 h 1412834"/>
              <a:gd name="connsiteX1" fmla="*/ 367336 w 1107662"/>
              <a:gd name="connsiteY1" fmla="*/ 534052 h 1412834"/>
              <a:gd name="connsiteX2" fmla="*/ 559482 w 1107662"/>
              <a:gd name="connsiteY2" fmla="*/ 729024 h 1412834"/>
              <a:gd name="connsiteX3" fmla="*/ 751628 w 1107662"/>
              <a:gd name="connsiteY3" fmla="*/ 534052 h 1412834"/>
              <a:gd name="connsiteX4" fmla="*/ 559482 w 1107662"/>
              <a:gd name="connsiteY4" fmla="*/ 339080 h 1412834"/>
              <a:gd name="connsiteX5" fmla="*/ 559481 w 1107662"/>
              <a:gd name="connsiteY5" fmla="*/ 0 h 1412834"/>
              <a:gd name="connsiteX6" fmla="*/ 1090707 w 1107662"/>
              <a:gd name="connsiteY6" fmla="*/ 534052 h 1412834"/>
              <a:gd name="connsiteX7" fmla="*/ 766258 w 1107662"/>
              <a:gd name="connsiteY7" fmla="*/ 1026136 h 1412834"/>
              <a:gd name="connsiteX8" fmla="*/ 710926 w 1107662"/>
              <a:gd name="connsiteY8" fmla="*/ 1043403 h 1412834"/>
              <a:gd name="connsiteX9" fmla="*/ 1107662 w 1107662"/>
              <a:gd name="connsiteY9" fmla="*/ 1209385 h 1412834"/>
              <a:gd name="connsiteX10" fmla="*/ 1107662 w 1107662"/>
              <a:gd name="connsiteY10" fmla="*/ 1412834 h 1412834"/>
              <a:gd name="connsiteX11" fmla="*/ 0 w 1107662"/>
              <a:gd name="connsiteY11" fmla="*/ 1412834 h 1412834"/>
              <a:gd name="connsiteX12" fmla="*/ 0 w 1107662"/>
              <a:gd name="connsiteY12" fmla="*/ 1209385 h 1412834"/>
              <a:gd name="connsiteX13" fmla="*/ 401563 w 1107662"/>
              <a:gd name="connsiteY13" fmla="*/ 1041383 h 1412834"/>
              <a:gd name="connsiteX14" fmla="*/ 352704 w 1107662"/>
              <a:gd name="connsiteY14" fmla="*/ 1026136 h 1412834"/>
              <a:gd name="connsiteX15" fmla="*/ 28255 w 1107662"/>
              <a:gd name="connsiteY15" fmla="*/ 534052 h 1412834"/>
              <a:gd name="connsiteX16" fmla="*/ 559481 w 1107662"/>
              <a:gd name="connsiteY16" fmla="*/ 0 h 141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7662" h="1412834">
                <a:moveTo>
                  <a:pt x="559482" y="339080"/>
                </a:moveTo>
                <a:cubicBezTo>
                  <a:pt x="453363" y="339080"/>
                  <a:pt x="367336" y="426372"/>
                  <a:pt x="367336" y="534052"/>
                </a:cubicBezTo>
                <a:cubicBezTo>
                  <a:pt x="367336" y="641732"/>
                  <a:pt x="453363" y="729024"/>
                  <a:pt x="559482" y="729024"/>
                </a:cubicBezTo>
                <a:cubicBezTo>
                  <a:pt x="665601" y="729024"/>
                  <a:pt x="751628" y="641732"/>
                  <a:pt x="751628" y="534052"/>
                </a:cubicBezTo>
                <a:cubicBezTo>
                  <a:pt x="751628" y="426372"/>
                  <a:pt x="665601" y="339080"/>
                  <a:pt x="559482" y="339080"/>
                </a:cubicBezTo>
                <a:close/>
                <a:moveTo>
                  <a:pt x="559481" y="0"/>
                </a:moveTo>
                <a:cubicBezTo>
                  <a:pt x="852869" y="0"/>
                  <a:pt x="1090707" y="239103"/>
                  <a:pt x="1090707" y="534052"/>
                </a:cubicBezTo>
                <a:cubicBezTo>
                  <a:pt x="1090707" y="755264"/>
                  <a:pt x="956923" y="945062"/>
                  <a:pt x="766258" y="1026136"/>
                </a:cubicBezTo>
                <a:lnTo>
                  <a:pt x="710926" y="1043403"/>
                </a:lnTo>
                <a:lnTo>
                  <a:pt x="1107662" y="1209385"/>
                </a:lnTo>
                <a:lnTo>
                  <a:pt x="1107662" y="1412834"/>
                </a:lnTo>
                <a:lnTo>
                  <a:pt x="0" y="1412834"/>
                </a:lnTo>
                <a:lnTo>
                  <a:pt x="0" y="1209385"/>
                </a:lnTo>
                <a:lnTo>
                  <a:pt x="401563" y="1041383"/>
                </a:lnTo>
                <a:lnTo>
                  <a:pt x="352704" y="1026136"/>
                </a:lnTo>
                <a:cubicBezTo>
                  <a:pt x="162039" y="945062"/>
                  <a:pt x="28255" y="755264"/>
                  <a:pt x="28255" y="534052"/>
                </a:cubicBezTo>
                <a:cubicBezTo>
                  <a:pt x="28255" y="239103"/>
                  <a:pt x="266093" y="0"/>
                  <a:pt x="559481"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68" name="Group 67"/>
          <p:cNvGrpSpPr/>
          <p:nvPr userDrawn="1"/>
        </p:nvGrpSpPr>
        <p:grpSpPr>
          <a:xfrm>
            <a:off x="7410692" y="347116"/>
            <a:ext cx="960699" cy="843817"/>
            <a:chOff x="13060789" y="5431985"/>
            <a:chExt cx="2063750" cy="1812925"/>
          </a:xfrm>
          <a:solidFill>
            <a:schemeClr val="bg1">
              <a:lumMod val="85000"/>
            </a:schemeClr>
          </a:solidFill>
        </p:grpSpPr>
        <p:sp>
          <p:nvSpPr>
            <p:cNvPr id="69" name="Freeform 51"/>
            <p:cNvSpPr>
              <a:spLocks/>
            </p:cNvSpPr>
            <p:nvPr/>
          </p:nvSpPr>
          <p:spPr bwMode="auto">
            <a:xfrm>
              <a:off x="13060789" y="6933760"/>
              <a:ext cx="2063750" cy="311150"/>
            </a:xfrm>
            <a:custGeom>
              <a:avLst/>
              <a:gdLst>
                <a:gd name="T0" fmla="*/ 1104 w 1300"/>
                <a:gd name="T1" fmla="*/ 0 h 196"/>
                <a:gd name="T2" fmla="*/ 175 w 1300"/>
                <a:gd name="T3" fmla="*/ 0 h 196"/>
                <a:gd name="T4" fmla="*/ 0 w 1300"/>
                <a:gd name="T5" fmla="*/ 196 h 196"/>
                <a:gd name="T6" fmla="*/ 1300 w 1300"/>
                <a:gd name="T7" fmla="*/ 196 h 196"/>
                <a:gd name="T8" fmla="*/ 1104 w 1300"/>
                <a:gd name="T9" fmla="*/ 0 h 196"/>
              </a:gdLst>
              <a:ahLst/>
              <a:cxnLst>
                <a:cxn ang="0">
                  <a:pos x="T0" y="T1"/>
                </a:cxn>
                <a:cxn ang="0">
                  <a:pos x="T2" y="T3"/>
                </a:cxn>
                <a:cxn ang="0">
                  <a:pos x="T4" y="T5"/>
                </a:cxn>
                <a:cxn ang="0">
                  <a:pos x="T6" y="T7"/>
                </a:cxn>
                <a:cxn ang="0">
                  <a:pos x="T8" y="T9"/>
                </a:cxn>
              </a:cxnLst>
              <a:rect l="0" t="0" r="r" b="b"/>
              <a:pathLst>
                <a:path w="1300" h="196">
                  <a:moveTo>
                    <a:pt x="1104" y="0"/>
                  </a:moveTo>
                  <a:lnTo>
                    <a:pt x="175" y="0"/>
                  </a:lnTo>
                  <a:lnTo>
                    <a:pt x="0" y="196"/>
                  </a:lnTo>
                  <a:lnTo>
                    <a:pt x="1300" y="196"/>
                  </a:lnTo>
                  <a:lnTo>
                    <a:pt x="1104"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69"/>
            <p:cNvSpPr>
              <a:spLocks/>
            </p:cNvSpPr>
            <p:nvPr/>
          </p:nvSpPr>
          <p:spPr bwMode="auto">
            <a:xfrm>
              <a:off x="13106827" y="5431985"/>
              <a:ext cx="1971675" cy="1409700"/>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71" name="Freeform 70"/>
          <p:cNvSpPr/>
          <p:nvPr userDrawn="1"/>
        </p:nvSpPr>
        <p:spPr bwMode="auto">
          <a:xfrm>
            <a:off x="11315306" y="855834"/>
            <a:ext cx="427323" cy="398227"/>
          </a:xfrm>
          <a:custGeom>
            <a:avLst/>
            <a:gdLst>
              <a:gd name="connsiteX0" fmla="*/ 1705224 w 1904098"/>
              <a:gd name="connsiteY0" fmla="*/ 0 h 1774700"/>
              <a:gd name="connsiteX1" fmla="*/ 1725798 w 1904098"/>
              <a:gd name="connsiteY1" fmla="*/ 5130 h 1774700"/>
              <a:gd name="connsiteX2" fmla="*/ 1904098 w 1904098"/>
              <a:gd name="connsiteY2" fmla="*/ 5130 h 1774700"/>
              <a:gd name="connsiteX3" fmla="*/ 1904098 w 1904098"/>
              <a:gd name="connsiteY3" fmla="*/ 105790 h 1774700"/>
              <a:gd name="connsiteX4" fmla="*/ 1782590 w 1904098"/>
              <a:gd name="connsiteY4" fmla="*/ 105790 h 1774700"/>
              <a:gd name="connsiteX5" fmla="*/ 1437871 w 1904098"/>
              <a:gd name="connsiteY5" fmla="*/ 1488381 h 1774700"/>
              <a:gd name="connsiteX6" fmla="*/ 1437871 w 1904098"/>
              <a:gd name="connsiteY6" fmla="*/ 1541451 h 1774700"/>
              <a:gd name="connsiteX7" fmla="*/ 1461386 w 1904098"/>
              <a:gd name="connsiteY7" fmla="*/ 1557305 h 1774700"/>
              <a:gd name="connsiteX8" fmla="*/ 1498685 w 1904098"/>
              <a:gd name="connsiteY8" fmla="*/ 1647353 h 1774700"/>
              <a:gd name="connsiteX9" fmla="*/ 1371338 w 1904098"/>
              <a:gd name="connsiteY9" fmla="*/ 1774700 h 1774700"/>
              <a:gd name="connsiteX10" fmla="*/ 1243991 w 1904098"/>
              <a:gd name="connsiteY10" fmla="*/ 1647353 h 1774700"/>
              <a:gd name="connsiteX11" fmla="*/ 1281290 w 1904098"/>
              <a:gd name="connsiteY11" fmla="*/ 1557305 h 1774700"/>
              <a:gd name="connsiteX12" fmla="*/ 1294468 w 1904098"/>
              <a:gd name="connsiteY12" fmla="*/ 1548420 h 1774700"/>
              <a:gd name="connsiteX13" fmla="*/ 503178 w 1904098"/>
              <a:gd name="connsiteY13" fmla="*/ 1548420 h 1774700"/>
              <a:gd name="connsiteX14" fmla="*/ 516356 w 1904098"/>
              <a:gd name="connsiteY14" fmla="*/ 1557305 h 1774700"/>
              <a:gd name="connsiteX15" fmla="*/ 553655 w 1904098"/>
              <a:gd name="connsiteY15" fmla="*/ 1647353 h 1774700"/>
              <a:gd name="connsiteX16" fmla="*/ 426308 w 1904098"/>
              <a:gd name="connsiteY16" fmla="*/ 1774700 h 1774700"/>
              <a:gd name="connsiteX17" fmla="*/ 298961 w 1904098"/>
              <a:gd name="connsiteY17" fmla="*/ 1647353 h 1774700"/>
              <a:gd name="connsiteX18" fmla="*/ 336260 w 1904098"/>
              <a:gd name="connsiteY18" fmla="*/ 1557305 h 1774700"/>
              <a:gd name="connsiteX19" fmla="*/ 349438 w 1904098"/>
              <a:gd name="connsiteY19" fmla="*/ 1548420 h 1774700"/>
              <a:gd name="connsiteX20" fmla="*/ 145556 w 1904098"/>
              <a:gd name="connsiteY20" fmla="*/ 1548420 h 1774700"/>
              <a:gd name="connsiteX21" fmla="*/ 145556 w 1904098"/>
              <a:gd name="connsiteY21" fmla="*/ 1447760 h 1774700"/>
              <a:gd name="connsiteX22" fmla="*/ 1344257 w 1904098"/>
              <a:gd name="connsiteY22" fmla="*/ 1447760 h 1774700"/>
              <a:gd name="connsiteX23" fmla="*/ 1413761 w 1904098"/>
              <a:gd name="connsiteY23" fmla="*/ 1168994 h 1774700"/>
              <a:gd name="connsiteX24" fmla="*/ 222344 w 1904098"/>
              <a:gd name="connsiteY24" fmla="*/ 1168994 h 1774700"/>
              <a:gd name="connsiteX25" fmla="*/ 0 w 1904098"/>
              <a:gd name="connsiteY25" fmla="*/ 279619 h 1774700"/>
              <a:gd name="connsiteX26" fmla="*/ 1635508 w 1904098"/>
              <a:gd name="connsiteY26" fmla="*/ 279619 h 1774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04098" h="1774700">
                <a:moveTo>
                  <a:pt x="1705224" y="0"/>
                </a:moveTo>
                <a:lnTo>
                  <a:pt x="1725798" y="5130"/>
                </a:lnTo>
                <a:lnTo>
                  <a:pt x="1904098" y="5130"/>
                </a:lnTo>
                <a:lnTo>
                  <a:pt x="1904098" y="105790"/>
                </a:lnTo>
                <a:lnTo>
                  <a:pt x="1782590" y="105790"/>
                </a:lnTo>
                <a:lnTo>
                  <a:pt x="1437871" y="1488381"/>
                </a:lnTo>
                <a:lnTo>
                  <a:pt x="1437871" y="1541451"/>
                </a:lnTo>
                <a:lnTo>
                  <a:pt x="1461386" y="1557305"/>
                </a:lnTo>
                <a:cubicBezTo>
                  <a:pt x="1484431" y="1580351"/>
                  <a:pt x="1498685" y="1612187"/>
                  <a:pt x="1498685" y="1647353"/>
                </a:cubicBezTo>
                <a:cubicBezTo>
                  <a:pt x="1498685" y="1717685"/>
                  <a:pt x="1441670" y="1774700"/>
                  <a:pt x="1371338" y="1774700"/>
                </a:cubicBezTo>
                <a:cubicBezTo>
                  <a:pt x="1301006" y="1774700"/>
                  <a:pt x="1243991" y="1717685"/>
                  <a:pt x="1243991" y="1647353"/>
                </a:cubicBezTo>
                <a:cubicBezTo>
                  <a:pt x="1243991" y="1612187"/>
                  <a:pt x="1258245" y="1580351"/>
                  <a:pt x="1281290" y="1557305"/>
                </a:cubicBezTo>
                <a:lnTo>
                  <a:pt x="1294468" y="1548420"/>
                </a:lnTo>
                <a:lnTo>
                  <a:pt x="503178" y="1548420"/>
                </a:lnTo>
                <a:lnTo>
                  <a:pt x="516356" y="1557305"/>
                </a:lnTo>
                <a:cubicBezTo>
                  <a:pt x="539401" y="1580351"/>
                  <a:pt x="553655" y="1612187"/>
                  <a:pt x="553655" y="1647353"/>
                </a:cubicBezTo>
                <a:cubicBezTo>
                  <a:pt x="553655" y="1717685"/>
                  <a:pt x="496640" y="1774700"/>
                  <a:pt x="426308" y="1774700"/>
                </a:cubicBezTo>
                <a:cubicBezTo>
                  <a:pt x="355976" y="1774700"/>
                  <a:pt x="298961" y="1717685"/>
                  <a:pt x="298961" y="1647353"/>
                </a:cubicBezTo>
                <a:cubicBezTo>
                  <a:pt x="298961" y="1612187"/>
                  <a:pt x="313215" y="1580351"/>
                  <a:pt x="336260" y="1557305"/>
                </a:cubicBezTo>
                <a:lnTo>
                  <a:pt x="349438" y="1548420"/>
                </a:lnTo>
                <a:lnTo>
                  <a:pt x="145556" y="1548420"/>
                </a:lnTo>
                <a:lnTo>
                  <a:pt x="145556" y="1447760"/>
                </a:lnTo>
                <a:lnTo>
                  <a:pt x="1344257" y="1447760"/>
                </a:lnTo>
                <a:lnTo>
                  <a:pt x="1413761" y="1168994"/>
                </a:lnTo>
                <a:lnTo>
                  <a:pt x="222344" y="1168994"/>
                </a:lnTo>
                <a:lnTo>
                  <a:pt x="0" y="279619"/>
                </a:lnTo>
                <a:lnTo>
                  <a:pt x="1635508" y="279619"/>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Freeform 48"/>
          <p:cNvSpPr>
            <a:spLocks noChangeAspect="1"/>
          </p:cNvSpPr>
          <p:nvPr userDrawn="1"/>
        </p:nvSpPr>
        <p:spPr bwMode="black">
          <a:xfrm>
            <a:off x="2843918" y="2783843"/>
            <a:ext cx="619326" cy="528807"/>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73" name="Freeform 73"/>
          <p:cNvSpPr>
            <a:spLocks noEditPoints="1"/>
          </p:cNvSpPr>
          <p:nvPr userDrawn="1"/>
        </p:nvSpPr>
        <p:spPr bwMode="auto">
          <a:xfrm>
            <a:off x="4194684" y="5498191"/>
            <a:ext cx="595899" cy="595813"/>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16"/>
          <p:cNvSpPr>
            <a:spLocks noChangeAspect="1" noEditPoints="1"/>
          </p:cNvSpPr>
          <p:nvPr userDrawn="1"/>
        </p:nvSpPr>
        <p:spPr bwMode="auto">
          <a:xfrm>
            <a:off x="889297" y="5545449"/>
            <a:ext cx="1289287" cy="897657"/>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75" name="Freeform 74"/>
          <p:cNvSpPr/>
          <p:nvPr userDrawn="1"/>
        </p:nvSpPr>
        <p:spPr bwMode="auto">
          <a:xfrm>
            <a:off x="8931267" y="2737100"/>
            <a:ext cx="712528" cy="898571"/>
          </a:xfrm>
          <a:custGeom>
            <a:avLst/>
            <a:gdLst>
              <a:gd name="connsiteX0" fmla="*/ 349260 w 698521"/>
              <a:gd name="connsiteY0" fmla="*/ 810091 h 881032"/>
              <a:gd name="connsiteX1" fmla="*/ 326400 w 698521"/>
              <a:gd name="connsiteY1" fmla="*/ 832951 h 881032"/>
              <a:gd name="connsiteX2" fmla="*/ 349260 w 698521"/>
              <a:gd name="connsiteY2" fmla="*/ 855811 h 881032"/>
              <a:gd name="connsiteX3" fmla="*/ 372120 w 698521"/>
              <a:gd name="connsiteY3" fmla="*/ 832951 h 881032"/>
              <a:gd name="connsiteX4" fmla="*/ 349260 w 698521"/>
              <a:gd name="connsiteY4" fmla="*/ 810091 h 881032"/>
              <a:gd name="connsiteX5" fmla="*/ 63402 w 698521"/>
              <a:gd name="connsiteY5" fmla="*/ 58379 h 881032"/>
              <a:gd name="connsiteX6" fmla="*/ 63402 w 698521"/>
              <a:gd name="connsiteY6" fmla="*/ 765022 h 881032"/>
              <a:gd name="connsiteX7" fmla="*/ 635120 w 698521"/>
              <a:gd name="connsiteY7" fmla="*/ 765022 h 881032"/>
              <a:gd name="connsiteX8" fmla="*/ 635120 w 698521"/>
              <a:gd name="connsiteY8" fmla="*/ 58379 h 881032"/>
              <a:gd name="connsiteX9" fmla="*/ 116422 w 698521"/>
              <a:gd name="connsiteY9" fmla="*/ 0 h 881032"/>
              <a:gd name="connsiteX10" fmla="*/ 582099 w 698521"/>
              <a:gd name="connsiteY10" fmla="*/ 0 h 881032"/>
              <a:gd name="connsiteX11" fmla="*/ 698521 w 698521"/>
              <a:gd name="connsiteY11" fmla="*/ 116422 h 881032"/>
              <a:gd name="connsiteX12" fmla="*/ 698521 w 698521"/>
              <a:gd name="connsiteY12" fmla="*/ 764610 h 881032"/>
              <a:gd name="connsiteX13" fmla="*/ 582099 w 698521"/>
              <a:gd name="connsiteY13" fmla="*/ 881032 h 881032"/>
              <a:gd name="connsiteX14" fmla="*/ 116422 w 698521"/>
              <a:gd name="connsiteY14" fmla="*/ 881032 h 881032"/>
              <a:gd name="connsiteX15" fmla="*/ 0 w 698521"/>
              <a:gd name="connsiteY15" fmla="*/ 764610 h 881032"/>
              <a:gd name="connsiteX16" fmla="*/ 0 w 698521"/>
              <a:gd name="connsiteY16" fmla="*/ 116422 h 881032"/>
              <a:gd name="connsiteX17" fmla="*/ 116422 w 698521"/>
              <a:gd name="connsiteY17" fmla="*/ 0 h 88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8521" h="881032">
                <a:moveTo>
                  <a:pt x="349260" y="810091"/>
                </a:moveTo>
                <a:cubicBezTo>
                  <a:pt x="336635" y="810091"/>
                  <a:pt x="326400" y="820326"/>
                  <a:pt x="326400" y="832951"/>
                </a:cubicBezTo>
                <a:cubicBezTo>
                  <a:pt x="326400" y="845576"/>
                  <a:pt x="336635" y="855811"/>
                  <a:pt x="349260" y="855811"/>
                </a:cubicBezTo>
                <a:cubicBezTo>
                  <a:pt x="361885" y="855811"/>
                  <a:pt x="372120" y="845576"/>
                  <a:pt x="372120" y="832951"/>
                </a:cubicBezTo>
                <a:cubicBezTo>
                  <a:pt x="372120" y="820326"/>
                  <a:pt x="361885" y="810091"/>
                  <a:pt x="349260" y="810091"/>
                </a:cubicBezTo>
                <a:close/>
                <a:moveTo>
                  <a:pt x="63402" y="58379"/>
                </a:moveTo>
                <a:lnTo>
                  <a:pt x="63402" y="765022"/>
                </a:lnTo>
                <a:lnTo>
                  <a:pt x="635120" y="765022"/>
                </a:lnTo>
                <a:lnTo>
                  <a:pt x="635120" y="58379"/>
                </a:lnTo>
                <a:close/>
                <a:moveTo>
                  <a:pt x="116422" y="0"/>
                </a:moveTo>
                <a:lnTo>
                  <a:pt x="582099" y="0"/>
                </a:lnTo>
                <a:cubicBezTo>
                  <a:pt x="646397" y="0"/>
                  <a:pt x="698521" y="52124"/>
                  <a:pt x="698521" y="116422"/>
                </a:cubicBezTo>
                <a:lnTo>
                  <a:pt x="698521" y="764610"/>
                </a:lnTo>
                <a:cubicBezTo>
                  <a:pt x="698521" y="828908"/>
                  <a:pt x="646397" y="881032"/>
                  <a:pt x="582099" y="881032"/>
                </a:cubicBezTo>
                <a:lnTo>
                  <a:pt x="116422" y="881032"/>
                </a:lnTo>
                <a:cubicBezTo>
                  <a:pt x="52124" y="881032"/>
                  <a:pt x="0" y="828908"/>
                  <a:pt x="0" y="764610"/>
                </a:cubicBezTo>
                <a:lnTo>
                  <a:pt x="0" y="116422"/>
                </a:lnTo>
                <a:cubicBezTo>
                  <a:pt x="0" y="52124"/>
                  <a:pt x="52124" y="0"/>
                  <a:pt x="116422"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6" name="Freeform 75"/>
          <p:cNvSpPr/>
          <p:nvPr userDrawn="1"/>
        </p:nvSpPr>
        <p:spPr bwMode="auto">
          <a:xfrm>
            <a:off x="-178705" y="2376708"/>
            <a:ext cx="805005" cy="1434959"/>
          </a:xfrm>
          <a:custGeom>
            <a:avLst/>
            <a:gdLst>
              <a:gd name="connsiteX0" fmla="*/ 434533 w 869066"/>
              <a:gd name="connsiteY0" fmla="*/ 1384058 h 1549372"/>
              <a:gd name="connsiteX1" fmla="*/ 370525 w 869066"/>
              <a:gd name="connsiteY1" fmla="*/ 1448066 h 1549372"/>
              <a:gd name="connsiteX2" fmla="*/ 434533 w 869066"/>
              <a:gd name="connsiteY2" fmla="*/ 1512074 h 1549372"/>
              <a:gd name="connsiteX3" fmla="*/ 498541 w 869066"/>
              <a:gd name="connsiteY3" fmla="*/ 1448066 h 1549372"/>
              <a:gd name="connsiteX4" fmla="*/ 434533 w 869066"/>
              <a:gd name="connsiteY4" fmla="*/ 1384058 h 1549372"/>
              <a:gd name="connsiteX5" fmla="*/ 81603 w 869066"/>
              <a:gd name="connsiteY5" fmla="*/ 251558 h 1549372"/>
              <a:gd name="connsiteX6" fmla="*/ 81603 w 869066"/>
              <a:gd name="connsiteY6" fmla="*/ 1343379 h 1549372"/>
              <a:gd name="connsiteX7" fmla="*/ 787464 w 869066"/>
              <a:gd name="connsiteY7" fmla="*/ 1343379 h 1549372"/>
              <a:gd name="connsiteX8" fmla="*/ 787464 w 869066"/>
              <a:gd name="connsiteY8" fmla="*/ 251558 h 1549372"/>
              <a:gd name="connsiteX9" fmla="*/ 144847 w 869066"/>
              <a:gd name="connsiteY9" fmla="*/ 0 h 1549372"/>
              <a:gd name="connsiteX10" fmla="*/ 724219 w 869066"/>
              <a:gd name="connsiteY10" fmla="*/ 0 h 1549372"/>
              <a:gd name="connsiteX11" fmla="*/ 869066 w 869066"/>
              <a:gd name="connsiteY11" fmla="*/ 144847 h 1549372"/>
              <a:gd name="connsiteX12" fmla="*/ 869066 w 869066"/>
              <a:gd name="connsiteY12" fmla="*/ 1404525 h 1549372"/>
              <a:gd name="connsiteX13" fmla="*/ 724219 w 869066"/>
              <a:gd name="connsiteY13" fmla="*/ 1549372 h 1549372"/>
              <a:gd name="connsiteX14" fmla="*/ 144847 w 869066"/>
              <a:gd name="connsiteY14" fmla="*/ 1549372 h 1549372"/>
              <a:gd name="connsiteX15" fmla="*/ 0 w 869066"/>
              <a:gd name="connsiteY15" fmla="*/ 1404525 h 1549372"/>
              <a:gd name="connsiteX16" fmla="*/ 0 w 869066"/>
              <a:gd name="connsiteY16" fmla="*/ 144847 h 1549372"/>
              <a:gd name="connsiteX17" fmla="*/ 144847 w 869066"/>
              <a:gd name="connsiteY17" fmla="*/ 0 h 154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066" h="1549372">
                <a:moveTo>
                  <a:pt x="434533" y="1384058"/>
                </a:moveTo>
                <a:cubicBezTo>
                  <a:pt x="399182" y="1384058"/>
                  <a:pt x="370525" y="1412715"/>
                  <a:pt x="370525" y="1448066"/>
                </a:cubicBezTo>
                <a:cubicBezTo>
                  <a:pt x="370525" y="1483417"/>
                  <a:pt x="399182" y="1512074"/>
                  <a:pt x="434533" y="1512074"/>
                </a:cubicBezTo>
                <a:cubicBezTo>
                  <a:pt x="469884" y="1512074"/>
                  <a:pt x="498541" y="1483417"/>
                  <a:pt x="498541" y="1448066"/>
                </a:cubicBezTo>
                <a:cubicBezTo>
                  <a:pt x="498541" y="1412715"/>
                  <a:pt x="469884" y="1384058"/>
                  <a:pt x="434533" y="1384058"/>
                </a:cubicBezTo>
                <a:close/>
                <a:moveTo>
                  <a:pt x="81603" y="251558"/>
                </a:moveTo>
                <a:lnTo>
                  <a:pt x="81603" y="1343379"/>
                </a:lnTo>
                <a:lnTo>
                  <a:pt x="787464" y="1343379"/>
                </a:lnTo>
                <a:lnTo>
                  <a:pt x="787464" y="251558"/>
                </a:lnTo>
                <a:close/>
                <a:moveTo>
                  <a:pt x="144847" y="0"/>
                </a:moveTo>
                <a:lnTo>
                  <a:pt x="724219" y="0"/>
                </a:lnTo>
                <a:cubicBezTo>
                  <a:pt x="804216" y="0"/>
                  <a:pt x="869066" y="64850"/>
                  <a:pt x="869066" y="144847"/>
                </a:cubicBezTo>
                <a:lnTo>
                  <a:pt x="869066" y="1404525"/>
                </a:lnTo>
                <a:cubicBezTo>
                  <a:pt x="869066" y="1484522"/>
                  <a:pt x="804216" y="1549372"/>
                  <a:pt x="724219" y="1549372"/>
                </a:cubicBezTo>
                <a:lnTo>
                  <a:pt x="144847" y="1549372"/>
                </a:lnTo>
                <a:cubicBezTo>
                  <a:pt x="64850" y="1549372"/>
                  <a:pt x="0" y="1484522"/>
                  <a:pt x="0" y="1404525"/>
                </a:cubicBezTo>
                <a:lnTo>
                  <a:pt x="0" y="144847"/>
                </a:lnTo>
                <a:cubicBezTo>
                  <a:pt x="0" y="64850"/>
                  <a:pt x="64850" y="0"/>
                  <a:pt x="144847"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7" name="Group 76"/>
          <p:cNvGrpSpPr/>
          <p:nvPr userDrawn="1"/>
        </p:nvGrpSpPr>
        <p:grpSpPr>
          <a:xfrm>
            <a:off x="3362269" y="789687"/>
            <a:ext cx="716925" cy="729341"/>
            <a:chOff x="8528940" y="2613975"/>
            <a:chExt cx="2162543" cy="2200306"/>
          </a:xfrm>
          <a:solidFill>
            <a:schemeClr val="bg1">
              <a:lumMod val="85000"/>
            </a:schemeClr>
          </a:solidFill>
        </p:grpSpPr>
        <p:sp>
          <p:nvSpPr>
            <p:cNvPr id="78" name="Freeform 77"/>
            <p:cNvSpPr/>
            <p:nvPr/>
          </p:nvSpPr>
          <p:spPr bwMode="auto">
            <a:xfrm>
              <a:off x="9058182" y="3137768"/>
              <a:ext cx="1136696" cy="1136696"/>
            </a:xfrm>
            <a:custGeom>
              <a:avLst/>
              <a:gdLst>
                <a:gd name="connsiteX0" fmla="*/ 579406 w 1136696"/>
                <a:gd name="connsiteY0" fmla="*/ 229423 h 1136696"/>
                <a:gd name="connsiteX1" fmla="*/ 240481 w 1136696"/>
                <a:gd name="connsiteY1" fmla="*/ 568348 h 1136696"/>
                <a:gd name="connsiteX2" fmla="*/ 579406 w 1136696"/>
                <a:gd name="connsiteY2" fmla="*/ 907273 h 1136696"/>
                <a:gd name="connsiteX3" fmla="*/ 918331 w 1136696"/>
                <a:gd name="connsiteY3" fmla="*/ 568348 h 1136696"/>
                <a:gd name="connsiteX4" fmla="*/ 579406 w 1136696"/>
                <a:gd name="connsiteY4" fmla="*/ 229423 h 1136696"/>
                <a:gd name="connsiteX5" fmla="*/ 568348 w 1136696"/>
                <a:gd name="connsiteY5" fmla="*/ 0 h 1136696"/>
                <a:gd name="connsiteX6" fmla="*/ 1136696 w 1136696"/>
                <a:gd name="connsiteY6" fmla="*/ 568348 h 1136696"/>
                <a:gd name="connsiteX7" fmla="*/ 568348 w 1136696"/>
                <a:gd name="connsiteY7" fmla="*/ 1136696 h 1136696"/>
                <a:gd name="connsiteX8" fmla="*/ 0 w 1136696"/>
                <a:gd name="connsiteY8" fmla="*/ 568348 h 1136696"/>
                <a:gd name="connsiteX9" fmla="*/ 568348 w 1136696"/>
                <a:gd name="connsiteY9" fmla="*/ 0 h 113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6696" h="1136696">
                  <a:moveTo>
                    <a:pt x="579406" y="229423"/>
                  </a:moveTo>
                  <a:cubicBezTo>
                    <a:pt x="392223" y="229423"/>
                    <a:pt x="240481" y="381165"/>
                    <a:pt x="240481" y="568348"/>
                  </a:cubicBezTo>
                  <a:cubicBezTo>
                    <a:pt x="240481" y="755531"/>
                    <a:pt x="392223" y="907273"/>
                    <a:pt x="579406" y="907273"/>
                  </a:cubicBezTo>
                  <a:cubicBezTo>
                    <a:pt x="766589" y="907273"/>
                    <a:pt x="918331" y="755531"/>
                    <a:pt x="918331" y="568348"/>
                  </a:cubicBezTo>
                  <a:cubicBezTo>
                    <a:pt x="918331" y="381165"/>
                    <a:pt x="766589" y="229423"/>
                    <a:pt x="579406" y="229423"/>
                  </a:cubicBezTo>
                  <a:close/>
                  <a:moveTo>
                    <a:pt x="568348" y="0"/>
                  </a:moveTo>
                  <a:cubicBezTo>
                    <a:pt x="882238" y="0"/>
                    <a:pt x="1136696" y="254458"/>
                    <a:pt x="1136696" y="568348"/>
                  </a:cubicBezTo>
                  <a:cubicBezTo>
                    <a:pt x="1136696" y="882238"/>
                    <a:pt x="882238" y="1136696"/>
                    <a:pt x="568348" y="1136696"/>
                  </a:cubicBezTo>
                  <a:cubicBezTo>
                    <a:pt x="254458" y="1136696"/>
                    <a:pt x="0" y="882238"/>
                    <a:pt x="0" y="568348"/>
                  </a:cubicBezTo>
                  <a:cubicBezTo>
                    <a:pt x="0" y="254458"/>
                    <a:pt x="254458" y="0"/>
                    <a:pt x="5683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79" name="Oval 78"/>
            <p:cNvSpPr/>
            <p:nvPr/>
          </p:nvSpPr>
          <p:spPr bwMode="auto">
            <a:xfrm>
              <a:off x="9443650" y="2613975"/>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0" name="Oval 79"/>
            <p:cNvSpPr/>
            <p:nvPr/>
          </p:nvSpPr>
          <p:spPr bwMode="auto">
            <a:xfrm>
              <a:off x="10325723" y="3523236"/>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Oval 80"/>
            <p:cNvSpPr/>
            <p:nvPr/>
          </p:nvSpPr>
          <p:spPr bwMode="auto">
            <a:xfrm>
              <a:off x="9443650" y="4448521"/>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Oval 81"/>
            <p:cNvSpPr/>
            <p:nvPr/>
          </p:nvSpPr>
          <p:spPr bwMode="auto">
            <a:xfrm>
              <a:off x="8528940" y="3523236"/>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Oval 82"/>
            <p:cNvSpPr/>
            <p:nvPr/>
          </p:nvSpPr>
          <p:spPr bwMode="auto">
            <a:xfrm rot="2700000">
              <a:off x="10087480" y="2894177"/>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Oval 83"/>
            <p:cNvSpPr/>
            <p:nvPr/>
          </p:nvSpPr>
          <p:spPr bwMode="auto">
            <a:xfrm rot="2700000">
              <a:off x="10068256" y="4160841"/>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Oval 84"/>
            <p:cNvSpPr/>
            <p:nvPr/>
          </p:nvSpPr>
          <p:spPr bwMode="auto">
            <a:xfrm rot="2700000">
              <a:off x="8790260" y="4191397"/>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Oval 85"/>
            <p:cNvSpPr/>
            <p:nvPr/>
          </p:nvSpPr>
          <p:spPr bwMode="auto">
            <a:xfrm rot="2700000">
              <a:off x="8797738" y="2890324"/>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7" name="Group 86"/>
          <p:cNvGrpSpPr/>
          <p:nvPr userDrawn="1"/>
        </p:nvGrpSpPr>
        <p:grpSpPr>
          <a:xfrm>
            <a:off x="9460670" y="6406177"/>
            <a:ext cx="889300" cy="889174"/>
            <a:chOff x="8097251" y="3693697"/>
            <a:chExt cx="2237874" cy="2237874"/>
          </a:xfrm>
          <a:solidFill>
            <a:schemeClr val="bg1">
              <a:lumMod val="85000"/>
            </a:schemeClr>
          </a:solidFill>
        </p:grpSpPr>
        <p:sp>
          <p:nvSpPr>
            <p:cNvPr id="88" name="Freeform 87"/>
            <p:cNvSpPr/>
            <p:nvPr/>
          </p:nvSpPr>
          <p:spPr bwMode="auto">
            <a:xfrm>
              <a:off x="8097251" y="3693697"/>
              <a:ext cx="2237874" cy="2237874"/>
            </a:xfrm>
            <a:custGeom>
              <a:avLst/>
              <a:gdLst>
                <a:gd name="connsiteX0" fmla="*/ 1118936 w 2237874"/>
                <a:gd name="connsiteY0" fmla="*/ 208546 h 2237874"/>
                <a:gd name="connsiteX1" fmla="*/ 208546 w 2237874"/>
                <a:gd name="connsiteY1" fmla="*/ 1118936 h 2237874"/>
                <a:gd name="connsiteX2" fmla="*/ 1118936 w 2237874"/>
                <a:gd name="connsiteY2" fmla="*/ 2029326 h 2237874"/>
                <a:gd name="connsiteX3" fmla="*/ 2029326 w 2237874"/>
                <a:gd name="connsiteY3" fmla="*/ 1118936 h 2237874"/>
                <a:gd name="connsiteX4" fmla="*/ 1118936 w 2237874"/>
                <a:gd name="connsiteY4" fmla="*/ 208546 h 2237874"/>
                <a:gd name="connsiteX5" fmla="*/ 1118937 w 2237874"/>
                <a:gd name="connsiteY5" fmla="*/ 0 h 2237874"/>
                <a:gd name="connsiteX6" fmla="*/ 2237874 w 2237874"/>
                <a:gd name="connsiteY6" fmla="*/ 1118937 h 2237874"/>
                <a:gd name="connsiteX7" fmla="*/ 1118937 w 2237874"/>
                <a:gd name="connsiteY7" fmla="*/ 2237874 h 2237874"/>
                <a:gd name="connsiteX8" fmla="*/ 0 w 2237874"/>
                <a:gd name="connsiteY8" fmla="*/ 1118937 h 2237874"/>
                <a:gd name="connsiteX9" fmla="*/ 1118937 w 2237874"/>
                <a:gd name="connsiteY9" fmla="*/ 0 h 223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874" h="2237874">
                  <a:moveTo>
                    <a:pt x="1118936" y="208546"/>
                  </a:moveTo>
                  <a:cubicBezTo>
                    <a:pt x="616141" y="208546"/>
                    <a:pt x="208546" y="616141"/>
                    <a:pt x="208546" y="1118936"/>
                  </a:cubicBezTo>
                  <a:cubicBezTo>
                    <a:pt x="208546" y="1621731"/>
                    <a:pt x="616141" y="2029326"/>
                    <a:pt x="1118936" y="2029326"/>
                  </a:cubicBezTo>
                  <a:cubicBezTo>
                    <a:pt x="1621731" y="2029326"/>
                    <a:pt x="2029326" y="1621731"/>
                    <a:pt x="2029326" y="1118936"/>
                  </a:cubicBezTo>
                  <a:cubicBezTo>
                    <a:pt x="2029326" y="616141"/>
                    <a:pt x="1621731" y="208546"/>
                    <a:pt x="1118936" y="208546"/>
                  </a:cubicBezTo>
                  <a:close/>
                  <a:moveTo>
                    <a:pt x="1118937" y="0"/>
                  </a:moveTo>
                  <a:cubicBezTo>
                    <a:pt x="1736909" y="0"/>
                    <a:pt x="2237874" y="500965"/>
                    <a:pt x="2237874" y="1118937"/>
                  </a:cubicBezTo>
                  <a:cubicBezTo>
                    <a:pt x="2237874" y="1736909"/>
                    <a:pt x="1736909" y="2237874"/>
                    <a:pt x="1118937" y="2237874"/>
                  </a:cubicBezTo>
                  <a:cubicBezTo>
                    <a:pt x="500965" y="2237874"/>
                    <a:pt x="0" y="1736909"/>
                    <a:pt x="0" y="1118937"/>
                  </a:cubicBezTo>
                  <a:cubicBezTo>
                    <a:pt x="0" y="500965"/>
                    <a:pt x="500965" y="0"/>
                    <a:pt x="111893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89" name="Oval 88"/>
            <p:cNvSpPr/>
            <p:nvPr/>
          </p:nvSpPr>
          <p:spPr bwMode="auto">
            <a:xfrm>
              <a:off x="9308431" y="4471737"/>
              <a:ext cx="681788" cy="68178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0" name="Freeform 89"/>
            <p:cNvSpPr/>
            <p:nvPr/>
          </p:nvSpPr>
          <p:spPr bwMode="auto">
            <a:xfrm>
              <a:off x="8418095" y="4471737"/>
              <a:ext cx="681788" cy="681788"/>
            </a:xfrm>
            <a:custGeom>
              <a:avLst/>
              <a:gdLst>
                <a:gd name="connsiteX0" fmla="*/ 340895 w 681788"/>
                <a:gd name="connsiteY0" fmla="*/ 136357 h 681788"/>
                <a:gd name="connsiteX1" fmla="*/ 136357 w 681788"/>
                <a:gd name="connsiteY1" fmla="*/ 340895 h 681788"/>
                <a:gd name="connsiteX2" fmla="*/ 340895 w 681788"/>
                <a:gd name="connsiteY2" fmla="*/ 545433 h 681788"/>
                <a:gd name="connsiteX3" fmla="*/ 545433 w 681788"/>
                <a:gd name="connsiteY3" fmla="*/ 340895 h 681788"/>
                <a:gd name="connsiteX4" fmla="*/ 340895 w 681788"/>
                <a:gd name="connsiteY4" fmla="*/ 136357 h 681788"/>
                <a:gd name="connsiteX5" fmla="*/ 340894 w 681788"/>
                <a:gd name="connsiteY5" fmla="*/ 0 h 681788"/>
                <a:gd name="connsiteX6" fmla="*/ 681788 w 681788"/>
                <a:gd name="connsiteY6" fmla="*/ 340894 h 681788"/>
                <a:gd name="connsiteX7" fmla="*/ 340894 w 681788"/>
                <a:gd name="connsiteY7" fmla="*/ 681788 h 681788"/>
                <a:gd name="connsiteX8" fmla="*/ 0 w 681788"/>
                <a:gd name="connsiteY8" fmla="*/ 340894 h 681788"/>
                <a:gd name="connsiteX9" fmla="*/ 340894 w 681788"/>
                <a:gd name="connsiteY9" fmla="*/ 0 h 68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1788" h="681788">
                  <a:moveTo>
                    <a:pt x="340895" y="136357"/>
                  </a:moveTo>
                  <a:cubicBezTo>
                    <a:pt x="227932" y="136357"/>
                    <a:pt x="136357" y="227932"/>
                    <a:pt x="136357" y="340895"/>
                  </a:cubicBezTo>
                  <a:cubicBezTo>
                    <a:pt x="136357" y="453858"/>
                    <a:pt x="227932" y="545433"/>
                    <a:pt x="340895" y="545433"/>
                  </a:cubicBezTo>
                  <a:cubicBezTo>
                    <a:pt x="453858" y="545433"/>
                    <a:pt x="545433" y="453858"/>
                    <a:pt x="545433" y="340895"/>
                  </a:cubicBezTo>
                  <a:cubicBezTo>
                    <a:pt x="545433" y="227932"/>
                    <a:pt x="453858" y="136357"/>
                    <a:pt x="340895" y="136357"/>
                  </a:cubicBezTo>
                  <a:close/>
                  <a:moveTo>
                    <a:pt x="340894" y="0"/>
                  </a:moveTo>
                  <a:cubicBezTo>
                    <a:pt x="529165" y="0"/>
                    <a:pt x="681788" y="152623"/>
                    <a:pt x="681788" y="340894"/>
                  </a:cubicBezTo>
                  <a:cubicBezTo>
                    <a:pt x="681788" y="529165"/>
                    <a:pt x="529165" y="681788"/>
                    <a:pt x="340894" y="681788"/>
                  </a:cubicBezTo>
                  <a:cubicBezTo>
                    <a:pt x="152623" y="681788"/>
                    <a:pt x="0" y="529165"/>
                    <a:pt x="0" y="340894"/>
                  </a:cubicBezTo>
                  <a:cubicBezTo>
                    <a:pt x="0" y="152623"/>
                    <a:pt x="152623" y="0"/>
                    <a:pt x="34089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1" name="Group 90"/>
          <p:cNvGrpSpPr/>
          <p:nvPr userDrawn="1"/>
        </p:nvGrpSpPr>
        <p:grpSpPr>
          <a:xfrm>
            <a:off x="10396592" y="1314388"/>
            <a:ext cx="972945" cy="1353470"/>
            <a:chOff x="9817768" y="3561350"/>
            <a:chExt cx="1937085" cy="2695071"/>
          </a:xfrm>
          <a:solidFill>
            <a:schemeClr val="bg1">
              <a:lumMod val="85000"/>
            </a:schemeClr>
          </a:solidFill>
        </p:grpSpPr>
        <p:sp>
          <p:nvSpPr>
            <p:cNvPr id="92" name="Freeform 91"/>
            <p:cNvSpPr/>
            <p:nvPr/>
          </p:nvSpPr>
          <p:spPr bwMode="auto">
            <a:xfrm>
              <a:off x="9817768" y="3561350"/>
              <a:ext cx="1937085" cy="2695071"/>
            </a:xfrm>
            <a:custGeom>
              <a:avLst/>
              <a:gdLst>
                <a:gd name="connsiteX0" fmla="*/ 204537 w 1937085"/>
                <a:gd name="connsiteY0" fmla="*/ 204535 h 2695071"/>
                <a:gd name="connsiteX1" fmla="*/ 204537 w 1937085"/>
                <a:gd name="connsiteY1" fmla="*/ 2490535 h 2695071"/>
                <a:gd name="connsiteX2" fmla="*/ 1730625 w 1937085"/>
                <a:gd name="connsiteY2" fmla="*/ 2490535 h 2695071"/>
                <a:gd name="connsiteX3" fmla="*/ 1730625 w 1937085"/>
                <a:gd name="connsiteY3" fmla="*/ 204535 h 2695071"/>
                <a:gd name="connsiteX4" fmla="*/ 322854 w 1937085"/>
                <a:gd name="connsiteY4" fmla="*/ 0 h 2695071"/>
                <a:gd name="connsiteX5" fmla="*/ 1614231 w 1937085"/>
                <a:gd name="connsiteY5" fmla="*/ 0 h 2695071"/>
                <a:gd name="connsiteX6" fmla="*/ 1937085 w 1937085"/>
                <a:gd name="connsiteY6" fmla="*/ 322854 h 2695071"/>
                <a:gd name="connsiteX7" fmla="*/ 1937085 w 1937085"/>
                <a:gd name="connsiteY7" fmla="*/ 2372217 h 2695071"/>
                <a:gd name="connsiteX8" fmla="*/ 1614231 w 1937085"/>
                <a:gd name="connsiteY8" fmla="*/ 2695071 h 2695071"/>
                <a:gd name="connsiteX9" fmla="*/ 322854 w 1937085"/>
                <a:gd name="connsiteY9" fmla="*/ 2695071 h 2695071"/>
                <a:gd name="connsiteX10" fmla="*/ 0 w 1937085"/>
                <a:gd name="connsiteY10" fmla="*/ 2372217 h 2695071"/>
                <a:gd name="connsiteX11" fmla="*/ 0 w 1937085"/>
                <a:gd name="connsiteY11" fmla="*/ 322854 h 2695071"/>
                <a:gd name="connsiteX12" fmla="*/ 322854 w 1937085"/>
                <a:gd name="connsiteY12" fmla="*/ 0 h 26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7085" h="2695071">
                  <a:moveTo>
                    <a:pt x="204537" y="204535"/>
                  </a:moveTo>
                  <a:lnTo>
                    <a:pt x="204537" y="2490535"/>
                  </a:lnTo>
                  <a:lnTo>
                    <a:pt x="1730625" y="2490535"/>
                  </a:lnTo>
                  <a:lnTo>
                    <a:pt x="1730625" y="204535"/>
                  </a:lnTo>
                  <a:close/>
                  <a:moveTo>
                    <a:pt x="322854" y="0"/>
                  </a:moveTo>
                  <a:lnTo>
                    <a:pt x="1614231" y="0"/>
                  </a:lnTo>
                  <a:cubicBezTo>
                    <a:pt x="1792538" y="0"/>
                    <a:pt x="1937085" y="144547"/>
                    <a:pt x="1937085" y="322854"/>
                  </a:cubicBezTo>
                  <a:lnTo>
                    <a:pt x="1937085" y="2372217"/>
                  </a:lnTo>
                  <a:cubicBezTo>
                    <a:pt x="1937085" y="2550524"/>
                    <a:pt x="1792538" y="2695071"/>
                    <a:pt x="1614231" y="2695071"/>
                  </a:cubicBezTo>
                  <a:lnTo>
                    <a:pt x="322854" y="2695071"/>
                  </a:lnTo>
                  <a:cubicBezTo>
                    <a:pt x="144547" y="2695071"/>
                    <a:pt x="0" y="2550524"/>
                    <a:pt x="0" y="2372217"/>
                  </a:cubicBezTo>
                  <a:lnTo>
                    <a:pt x="0" y="322854"/>
                  </a:lnTo>
                  <a:cubicBezTo>
                    <a:pt x="0" y="144547"/>
                    <a:pt x="144547" y="0"/>
                    <a:pt x="3228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3" name="Rectangle 92"/>
            <p:cNvSpPr/>
            <p:nvPr/>
          </p:nvSpPr>
          <p:spPr bwMode="auto">
            <a:xfrm>
              <a:off x="10184731" y="4018548"/>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p:cNvSpPr/>
            <p:nvPr/>
          </p:nvSpPr>
          <p:spPr bwMode="auto">
            <a:xfrm>
              <a:off x="10184731" y="4421606"/>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10184731" y="4824664"/>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10184731" y="5227722"/>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10184731" y="5630780"/>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98" name="Freeform 97"/>
          <p:cNvSpPr/>
          <p:nvPr userDrawn="1"/>
        </p:nvSpPr>
        <p:spPr bwMode="auto">
          <a:xfrm>
            <a:off x="1733108" y="4224637"/>
            <a:ext cx="875889" cy="875644"/>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Freeform 98"/>
          <p:cNvSpPr/>
          <p:nvPr userDrawn="1"/>
        </p:nvSpPr>
        <p:spPr bwMode="auto">
          <a:xfrm rot="16200000" flipH="1">
            <a:off x="1396726" y="42408"/>
            <a:ext cx="658156" cy="1143101"/>
          </a:xfrm>
          <a:custGeom>
            <a:avLst/>
            <a:gdLst>
              <a:gd name="connsiteX0" fmla="*/ 213739 w 2285519"/>
              <a:gd name="connsiteY0" fmla="*/ 3796669 h 3968977"/>
              <a:gd name="connsiteX1" fmla="*/ 536839 w 2285519"/>
              <a:gd name="connsiteY1" fmla="*/ 2722035 h 3968977"/>
              <a:gd name="connsiteX2" fmla="*/ 2070211 w 2285519"/>
              <a:gd name="connsiteY2" fmla="*/ 2722035 h 3968977"/>
              <a:gd name="connsiteX3" fmla="*/ 1747111 w 2285519"/>
              <a:gd name="connsiteY3" fmla="*/ 3796669 h 3968977"/>
              <a:gd name="connsiteX4" fmla="*/ 213739 w 2285519"/>
              <a:gd name="connsiteY4" fmla="*/ 1449101 h 3968977"/>
              <a:gd name="connsiteX5" fmla="*/ 1747111 w 2285519"/>
              <a:gd name="connsiteY5" fmla="*/ 1449101 h 3968977"/>
              <a:gd name="connsiteX6" fmla="*/ 2070211 w 2285519"/>
              <a:gd name="connsiteY6" fmla="*/ 2523735 h 3968977"/>
              <a:gd name="connsiteX7" fmla="*/ 536839 w 2285519"/>
              <a:gd name="connsiteY7" fmla="*/ 2523735 h 3968977"/>
              <a:gd name="connsiteX8" fmla="*/ 213739 w 2285519"/>
              <a:gd name="connsiteY8" fmla="*/ 1250801 h 3968977"/>
              <a:gd name="connsiteX9" fmla="*/ 536839 w 2285519"/>
              <a:gd name="connsiteY9" fmla="*/ 176165 h 3968977"/>
              <a:gd name="connsiteX10" fmla="*/ 2070211 w 2285519"/>
              <a:gd name="connsiteY10" fmla="*/ 176165 h 3968977"/>
              <a:gd name="connsiteX11" fmla="*/ 1747111 w 2285519"/>
              <a:gd name="connsiteY11" fmla="*/ 1250801 h 3968977"/>
              <a:gd name="connsiteX12" fmla="*/ 0 w 2285519"/>
              <a:gd name="connsiteY12" fmla="*/ 1322993 h 3968977"/>
              <a:gd name="connsiteX13" fmla="*/ 397771 w 2285519"/>
              <a:gd name="connsiteY13" fmla="*/ 2645985 h 3968977"/>
              <a:gd name="connsiteX14" fmla="*/ 0 w 2285519"/>
              <a:gd name="connsiteY14" fmla="*/ 3968977 h 3968977"/>
              <a:gd name="connsiteX15" fmla="*/ 1887747 w 2285519"/>
              <a:gd name="connsiteY15" fmla="*/ 3968977 h 3968977"/>
              <a:gd name="connsiteX16" fmla="*/ 2285518 w 2285519"/>
              <a:gd name="connsiteY16" fmla="*/ 2645985 h 3968977"/>
              <a:gd name="connsiteX17" fmla="*/ 1887747 w 2285519"/>
              <a:gd name="connsiteY17" fmla="*/ 1322993 h 3968977"/>
              <a:gd name="connsiteX18" fmla="*/ 1887748 w 2285519"/>
              <a:gd name="connsiteY18" fmla="*/ 1322993 h 3968977"/>
              <a:gd name="connsiteX19" fmla="*/ 2285519 w 2285519"/>
              <a:gd name="connsiteY19" fmla="*/ 0 h 3968977"/>
              <a:gd name="connsiteX20" fmla="*/ 397772 w 2285519"/>
              <a:gd name="connsiteY20" fmla="*/ 0 h 3968977"/>
              <a:gd name="connsiteX21" fmla="*/ 1 w 2285519"/>
              <a:gd name="connsiteY21" fmla="*/ 1322993 h 396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85519" h="3968977">
                <a:moveTo>
                  <a:pt x="213739" y="3796669"/>
                </a:moveTo>
                <a:lnTo>
                  <a:pt x="536839" y="2722035"/>
                </a:lnTo>
                <a:lnTo>
                  <a:pt x="2070211" y="2722035"/>
                </a:lnTo>
                <a:lnTo>
                  <a:pt x="1747111" y="3796669"/>
                </a:lnTo>
                <a:close/>
                <a:moveTo>
                  <a:pt x="213739" y="1449101"/>
                </a:moveTo>
                <a:lnTo>
                  <a:pt x="1747111" y="1449101"/>
                </a:lnTo>
                <a:lnTo>
                  <a:pt x="2070211" y="2523735"/>
                </a:lnTo>
                <a:lnTo>
                  <a:pt x="536839" y="2523735"/>
                </a:lnTo>
                <a:close/>
                <a:moveTo>
                  <a:pt x="213739" y="1250801"/>
                </a:moveTo>
                <a:lnTo>
                  <a:pt x="536839" y="176165"/>
                </a:lnTo>
                <a:lnTo>
                  <a:pt x="2070211" y="176165"/>
                </a:lnTo>
                <a:lnTo>
                  <a:pt x="1747111" y="1250801"/>
                </a:lnTo>
                <a:close/>
                <a:moveTo>
                  <a:pt x="0" y="1322993"/>
                </a:moveTo>
                <a:lnTo>
                  <a:pt x="397771" y="2645985"/>
                </a:lnTo>
                <a:lnTo>
                  <a:pt x="0" y="3968977"/>
                </a:lnTo>
                <a:lnTo>
                  <a:pt x="1887747" y="3968977"/>
                </a:lnTo>
                <a:lnTo>
                  <a:pt x="2285518" y="2645985"/>
                </a:lnTo>
                <a:lnTo>
                  <a:pt x="1887747" y="1322993"/>
                </a:lnTo>
                <a:lnTo>
                  <a:pt x="1887748" y="1322993"/>
                </a:lnTo>
                <a:lnTo>
                  <a:pt x="2285519" y="0"/>
                </a:lnTo>
                <a:lnTo>
                  <a:pt x="397772" y="0"/>
                </a:lnTo>
                <a:lnTo>
                  <a:pt x="1" y="132299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Freeform 99"/>
          <p:cNvSpPr/>
          <p:nvPr userDrawn="1"/>
        </p:nvSpPr>
        <p:spPr bwMode="auto">
          <a:xfrm rot="5400000">
            <a:off x="6290350" y="206847"/>
            <a:ext cx="547683" cy="756172"/>
          </a:xfrm>
          <a:custGeom>
            <a:avLst/>
            <a:gdLst>
              <a:gd name="connsiteX0" fmla="*/ 1275310 w 2528757"/>
              <a:gd name="connsiteY0" fmla="*/ 2768125 h 3490893"/>
              <a:gd name="connsiteX1" fmla="*/ 997712 w 2528757"/>
              <a:gd name="connsiteY1" fmla="*/ 3045723 h 3490893"/>
              <a:gd name="connsiteX2" fmla="*/ 1275310 w 2528757"/>
              <a:gd name="connsiteY2" fmla="*/ 3323321 h 3490893"/>
              <a:gd name="connsiteX3" fmla="*/ 1552908 w 2528757"/>
              <a:gd name="connsiteY3" fmla="*/ 3045723 h 3490893"/>
              <a:gd name="connsiteX4" fmla="*/ 1275310 w 2528757"/>
              <a:gd name="connsiteY4" fmla="*/ 2768125 h 3490893"/>
              <a:gd name="connsiteX5" fmla="*/ 2083587 w 2528757"/>
              <a:gd name="connsiteY5" fmla="*/ 167570 h 3490893"/>
              <a:gd name="connsiteX6" fmla="*/ 1805989 w 2528757"/>
              <a:gd name="connsiteY6" fmla="*/ 445168 h 3490893"/>
              <a:gd name="connsiteX7" fmla="*/ 2083587 w 2528757"/>
              <a:gd name="connsiteY7" fmla="*/ 722766 h 3490893"/>
              <a:gd name="connsiteX8" fmla="*/ 2361185 w 2528757"/>
              <a:gd name="connsiteY8" fmla="*/ 445168 h 3490893"/>
              <a:gd name="connsiteX9" fmla="*/ 2083587 w 2528757"/>
              <a:gd name="connsiteY9" fmla="*/ 167570 h 3490893"/>
              <a:gd name="connsiteX10" fmla="*/ 445168 w 2528757"/>
              <a:gd name="connsiteY10" fmla="*/ 167570 h 3490893"/>
              <a:gd name="connsiteX11" fmla="*/ 167570 w 2528757"/>
              <a:gd name="connsiteY11" fmla="*/ 445168 h 3490893"/>
              <a:gd name="connsiteX12" fmla="*/ 445168 w 2528757"/>
              <a:gd name="connsiteY12" fmla="*/ 722766 h 3490893"/>
              <a:gd name="connsiteX13" fmla="*/ 722766 w 2528757"/>
              <a:gd name="connsiteY13" fmla="*/ 445168 h 3490893"/>
              <a:gd name="connsiteX14" fmla="*/ 445168 w 2528757"/>
              <a:gd name="connsiteY14" fmla="*/ 167570 h 3490893"/>
              <a:gd name="connsiteX15" fmla="*/ 2083588 w 2528757"/>
              <a:gd name="connsiteY15" fmla="*/ 0 h 3490893"/>
              <a:gd name="connsiteX16" fmla="*/ 2528757 w 2528757"/>
              <a:gd name="connsiteY16" fmla="*/ 445169 h 3490893"/>
              <a:gd name="connsiteX17" fmla="*/ 2256868 w 2528757"/>
              <a:gd name="connsiteY17" fmla="*/ 855355 h 3490893"/>
              <a:gd name="connsiteX18" fmla="*/ 2191312 w 2528757"/>
              <a:gd name="connsiteY18" fmla="*/ 875704 h 3490893"/>
              <a:gd name="connsiteX19" fmla="*/ 2191312 w 2528757"/>
              <a:gd name="connsiteY19" fmla="*/ 1825994 h 3490893"/>
              <a:gd name="connsiteX20" fmla="*/ 2006829 w 2528757"/>
              <a:gd name="connsiteY20" fmla="*/ 1825994 h 3490893"/>
              <a:gd name="connsiteX21" fmla="*/ 2006829 w 2528757"/>
              <a:gd name="connsiteY21" fmla="*/ 882600 h 3490893"/>
              <a:gd name="connsiteX22" fmla="*/ 1993871 w 2528757"/>
              <a:gd name="connsiteY22" fmla="*/ 881294 h 3490893"/>
              <a:gd name="connsiteX23" fmla="*/ 1638419 w 2528757"/>
              <a:gd name="connsiteY23" fmla="*/ 445169 h 3490893"/>
              <a:gd name="connsiteX24" fmla="*/ 2083588 w 2528757"/>
              <a:gd name="connsiteY24" fmla="*/ 0 h 3490893"/>
              <a:gd name="connsiteX25" fmla="*/ 445169 w 2528757"/>
              <a:gd name="connsiteY25" fmla="*/ 0 h 3490893"/>
              <a:gd name="connsiteX26" fmla="*/ 890338 w 2528757"/>
              <a:gd name="connsiteY26" fmla="*/ 445169 h 3490893"/>
              <a:gd name="connsiteX27" fmla="*/ 618449 w 2528757"/>
              <a:gd name="connsiteY27" fmla="*/ 855355 h 3490893"/>
              <a:gd name="connsiteX28" fmla="*/ 553175 w 2528757"/>
              <a:gd name="connsiteY28" fmla="*/ 875617 h 3490893"/>
              <a:gd name="connsiteX29" fmla="*/ 553175 w 2528757"/>
              <a:gd name="connsiteY29" fmla="*/ 1641511 h 3490893"/>
              <a:gd name="connsiteX30" fmla="*/ 1183068 w 2528757"/>
              <a:gd name="connsiteY30" fmla="*/ 1641511 h 3490893"/>
              <a:gd name="connsiteX31" fmla="*/ 1183068 w 2528757"/>
              <a:gd name="connsiteY31" fmla="*/ 1641510 h 3490893"/>
              <a:gd name="connsiteX32" fmla="*/ 1367551 w 2528757"/>
              <a:gd name="connsiteY32" fmla="*/ 1641510 h 3490893"/>
              <a:gd name="connsiteX33" fmla="*/ 1367551 w 2528757"/>
              <a:gd name="connsiteY33" fmla="*/ 1641511 h 3490893"/>
              <a:gd name="connsiteX34" fmla="*/ 2006828 w 2528757"/>
              <a:gd name="connsiteY34" fmla="*/ 1641511 h 3490893"/>
              <a:gd name="connsiteX35" fmla="*/ 2006828 w 2528757"/>
              <a:gd name="connsiteY35" fmla="*/ 1825994 h 3490893"/>
              <a:gd name="connsiteX36" fmla="*/ 1367551 w 2528757"/>
              <a:gd name="connsiteY36" fmla="*/ 1825994 h 3490893"/>
              <a:gd name="connsiteX37" fmla="*/ 1367551 w 2528757"/>
              <a:gd name="connsiteY37" fmla="*/ 2610383 h 3490893"/>
              <a:gd name="connsiteX38" fmla="*/ 1448591 w 2528757"/>
              <a:gd name="connsiteY38" fmla="*/ 2635539 h 3490893"/>
              <a:gd name="connsiteX39" fmla="*/ 1720480 w 2528757"/>
              <a:gd name="connsiteY39" fmla="*/ 3045724 h 3490893"/>
              <a:gd name="connsiteX40" fmla="*/ 1275311 w 2528757"/>
              <a:gd name="connsiteY40" fmla="*/ 3490893 h 3490893"/>
              <a:gd name="connsiteX41" fmla="*/ 830142 w 2528757"/>
              <a:gd name="connsiteY41" fmla="*/ 3045724 h 3490893"/>
              <a:gd name="connsiteX42" fmla="*/ 1102031 w 2528757"/>
              <a:gd name="connsiteY42" fmla="*/ 2635539 h 3490893"/>
              <a:gd name="connsiteX43" fmla="*/ 1183068 w 2528757"/>
              <a:gd name="connsiteY43" fmla="*/ 2610383 h 3490893"/>
              <a:gd name="connsiteX44" fmla="*/ 1183068 w 2528757"/>
              <a:gd name="connsiteY44" fmla="*/ 1825994 h 3490893"/>
              <a:gd name="connsiteX45" fmla="*/ 553175 w 2528757"/>
              <a:gd name="connsiteY45" fmla="*/ 1825994 h 3490893"/>
              <a:gd name="connsiteX46" fmla="*/ 368692 w 2528757"/>
              <a:gd name="connsiteY46" fmla="*/ 1825994 h 3490893"/>
              <a:gd name="connsiteX47" fmla="*/ 368692 w 2528757"/>
              <a:gd name="connsiteY47" fmla="*/ 882629 h 3490893"/>
              <a:gd name="connsiteX48" fmla="*/ 355452 w 2528757"/>
              <a:gd name="connsiteY48" fmla="*/ 881294 h 3490893"/>
              <a:gd name="connsiteX49" fmla="*/ 0 w 2528757"/>
              <a:gd name="connsiteY49" fmla="*/ 445169 h 3490893"/>
              <a:gd name="connsiteX50" fmla="*/ 445169 w 2528757"/>
              <a:gd name="connsiteY50" fmla="*/ 0 h 3490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528757" h="3490893">
                <a:moveTo>
                  <a:pt x="1275310" y="2768125"/>
                </a:moveTo>
                <a:cubicBezTo>
                  <a:pt x="1121997" y="2768125"/>
                  <a:pt x="997712" y="2892410"/>
                  <a:pt x="997712" y="3045723"/>
                </a:cubicBezTo>
                <a:cubicBezTo>
                  <a:pt x="997712" y="3199036"/>
                  <a:pt x="1121997" y="3323321"/>
                  <a:pt x="1275310" y="3323321"/>
                </a:cubicBezTo>
                <a:cubicBezTo>
                  <a:pt x="1428623" y="3323321"/>
                  <a:pt x="1552908" y="3199036"/>
                  <a:pt x="1552908" y="3045723"/>
                </a:cubicBezTo>
                <a:cubicBezTo>
                  <a:pt x="1552908" y="2892410"/>
                  <a:pt x="1428623" y="2768125"/>
                  <a:pt x="1275310" y="2768125"/>
                </a:cubicBezTo>
                <a:close/>
                <a:moveTo>
                  <a:pt x="2083587" y="167570"/>
                </a:moveTo>
                <a:cubicBezTo>
                  <a:pt x="1930274" y="167570"/>
                  <a:pt x="1805989" y="291855"/>
                  <a:pt x="1805989" y="445168"/>
                </a:cubicBezTo>
                <a:cubicBezTo>
                  <a:pt x="1805989" y="598481"/>
                  <a:pt x="1930274" y="722766"/>
                  <a:pt x="2083587" y="722766"/>
                </a:cubicBezTo>
                <a:cubicBezTo>
                  <a:pt x="2236900" y="722766"/>
                  <a:pt x="2361185" y="598481"/>
                  <a:pt x="2361185" y="445168"/>
                </a:cubicBezTo>
                <a:cubicBezTo>
                  <a:pt x="2361185" y="291855"/>
                  <a:pt x="2236900" y="167570"/>
                  <a:pt x="2083587" y="167570"/>
                </a:cubicBezTo>
                <a:close/>
                <a:moveTo>
                  <a:pt x="445168" y="167570"/>
                </a:moveTo>
                <a:cubicBezTo>
                  <a:pt x="291855" y="167570"/>
                  <a:pt x="167570" y="291855"/>
                  <a:pt x="167570" y="445168"/>
                </a:cubicBezTo>
                <a:cubicBezTo>
                  <a:pt x="167570" y="598481"/>
                  <a:pt x="291855" y="722766"/>
                  <a:pt x="445168" y="722766"/>
                </a:cubicBezTo>
                <a:cubicBezTo>
                  <a:pt x="598481" y="722766"/>
                  <a:pt x="722766" y="598481"/>
                  <a:pt x="722766" y="445168"/>
                </a:cubicBezTo>
                <a:cubicBezTo>
                  <a:pt x="722766" y="291855"/>
                  <a:pt x="598481" y="167570"/>
                  <a:pt x="445168" y="167570"/>
                </a:cubicBezTo>
                <a:close/>
                <a:moveTo>
                  <a:pt x="2083588" y="0"/>
                </a:moveTo>
                <a:cubicBezTo>
                  <a:pt x="2329448" y="0"/>
                  <a:pt x="2528757" y="199309"/>
                  <a:pt x="2528757" y="445169"/>
                </a:cubicBezTo>
                <a:cubicBezTo>
                  <a:pt x="2528757" y="629564"/>
                  <a:pt x="2416646" y="787774"/>
                  <a:pt x="2256868" y="855355"/>
                </a:cubicBezTo>
                <a:lnTo>
                  <a:pt x="2191312" y="875704"/>
                </a:lnTo>
                <a:lnTo>
                  <a:pt x="2191312" y="1825994"/>
                </a:lnTo>
                <a:lnTo>
                  <a:pt x="2006829" y="1825994"/>
                </a:lnTo>
                <a:lnTo>
                  <a:pt x="2006829" y="882600"/>
                </a:lnTo>
                <a:lnTo>
                  <a:pt x="1993871" y="881294"/>
                </a:lnTo>
                <a:cubicBezTo>
                  <a:pt x="1791015" y="839784"/>
                  <a:pt x="1638419" y="660296"/>
                  <a:pt x="1638419" y="445169"/>
                </a:cubicBezTo>
                <a:cubicBezTo>
                  <a:pt x="1638419" y="199309"/>
                  <a:pt x="1837728" y="0"/>
                  <a:pt x="2083588" y="0"/>
                </a:cubicBezTo>
                <a:close/>
                <a:moveTo>
                  <a:pt x="445169" y="0"/>
                </a:moveTo>
                <a:cubicBezTo>
                  <a:pt x="691029" y="0"/>
                  <a:pt x="890338" y="199309"/>
                  <a:pt x="890338" y="445169"/>
                </a:cubicBezTo>
                <a:cubicBezTo>
                  <a:pt x="890338" y="629564"/>
                  <a:pt x="778227" y="787774"/>
                  <a:pt x="618449" y="855355"/>
                </a:cubicBezTo>
                <a:lnTo>
                  <a:pt x="553175" y="875617"/>
                </a:lnTo>
                <a:lnTo>
                  <a:pt x="553175" y="1641511"/>
                </a:lnTo>
                <a:lnTo>
                  <a:pt x="1183068" y="1641511"/>
                </a:lnTo>
                <a:lnTo>
                  <a:pt x="1183068" y="1641510"/>
                </a:lnTo>
                <a:lnTo>
                  <a:pt x="1367551" y="1641510"/>
                </a:lnTo>
                <a:lnTo>
                  <a:pt x="1367551" y="1641511"/>
                </a:lnTo>
                <a:lnTo>
                  <a:pt x="2006828" y="1641511"/>
                </a:lnTo>
                <a:lnTo>
                  <a:pt x="2006828" y="1825994"/>
                </a:lnTo>
                <a:lnTo>
                  <a:pt x="1367551" y="1825994"/>
                </a:lnTo>
                <a:lnTo>
                  <a:pt x="1367551" y="2610383"/>
                </a:lnTo>
                <a:lnTo>
                  <a:pt x="1448591" y="2635539"/>
                </a:lnTo>
                <a:cubicBezTo>
                  <a:pt x="1608369" y="2703119"/>
                  <a:pt x="1720480" y="2861329"/>
                  <a:pt x="1720480" y="3045724"/>
                </a:cubicBezTo>
                <a:cubicBezTo>
                  <a:pt x="1720480" y="3291584"/>
                  <a:pt x="1521171" y="3490893"/>
                  <a:pt x="1275311" y="3490893"/>
                </a:cubicBezTo>
                <a:cubicBezTo>
                  <a:pt x="1029451" y="3490893"/>
                  <a:pt x="830142" y="3291584"/>
                  <a:pt x="830142" y="3045724"/>
                </a:cubicBezTo>
                <a:cubicBezTo>
                  <a:pt x="830142" y="2861329"/>
                  <a:pt x="942254" y="2703119"/>
                  <a:pt x="1102031" y="2635539"/>
                </a:cubicBezTo>
                <a:lnTo>
                  <a:pt x="1183068" y="2610383"/>
                </a:lnTo>
                <a:lnTo>
                  <a:pt x="1183068" y="1825994"/>
                </a:lnTo>
                <a:lnTo>
                  <a:pt x="553175" y="1825994"/>
                </a:lnTo>
                <a:lnTo>
                  <a:pt x="368692" y="1825994"/>
                </a:lnTo>
                <a:lnTo>
                  <a:pt x="368692" y="882629"/>
                </a:lnTo>
                <a:lnTo>
                  <a:pt x="355452" y="881294"/>
                </a:lnTo>
                <a:cubicBezTo>
                  <a:pt x="152596" y="839784"/>
                  <a:pt x="0" y="660296"/>
                  <a:pt x="0" y="445169"/>
                </a:cubicBezTo>
                <a:cubicBezTo>
                  <a:pt x="0" y="199309"/>
                  <a:pt x="199309" y="0"/>
                  <a:pt x="445169"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Freeform 100"/>
          <p:cNvSpPr/>
          <p:nvPr userDrawn="1"/>
        </p:nvSpPr>
        <p:spPr bwMode="auto">
          <a:xfrm rot="10800000">
            <a:off x="1917185" y="6638812"/>
            <a:ext cx="739752" cy="957190"/>
          </a:xfrm>
          <a:custGeom>
            <a:avLst/>
            <a:gdLst>
              <a:gd name="connsiteX0" fmla="*/ 2169333 w 2406928"/>
              <a:gd name="connsiteY0" fmla="*/ 2867530 h 3114848"/>
              <a:gd name="connsiteX1" fmla="*/ 2169333 w 2406928"/>
              <a:gd name="connsiteY1" fmla="*/ 247317 h 3114848"/>
              <a:gd name="connsiteX2" fmla="*/ 237594 w 2406928"/>
              <a:gd name="connsiteY2" fmla="*/ 247317 h 3114848"/>
              <a:gd name="connsiteX3" fmla="*/ 237594 w 2406928"/>
              <a:gd name="connsiteY3" fmla="*/ 2139319 h 3114848"/>
              <a:gd name="connsiteX4" fmla="*/ 965805 w 2406928"/>
              <a:gd name="connsiteY4" fmla="*/ 2867530 h 3114848"/>
              <a:gd name="connsiteX5" fmla="*/ 2406928 w 2406928"/>
              <a:gd name="connsiteY5" fmla="*/ 3114848 h 3114848"/>
              <a:gd name="connsiteX6" fmla="*/ 1213123 w 2406928"/>
              <a:gd name="connsiteY6" fmla="*/ 3114848 h 3114848"/>
              <a:gd name="connsiteX7" fmla="*/ 899243 w 2406928"/>
              <a:gd name="connsiteY7" fmla="*/ 3114848 h 3114848"/>
              <a:gd name="connsiteX8" fmla="*/ 0 w 2406928"/>
              <a:gd name="connsiteY8" fmla="*/ 2215605 h 3114848"/>
              <a:gd name="connsiteX9" fmla="*/ 0 w 2406928"/>
              <a:gd name="connsiteY9" fmla="*/ 0 h 3114848"/>
              <a:gd name="connsiteX10" fmla="*/ 2406928 w 2406928"/>
              <a:gd name="connsiteY10" fmla="*/ 0 h 311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6928" h="3114848">
                <a:moveTo>
                  <a:pt x="2169333" y="2867530"/>
                </a:moveTo>
                <a:lnTo>
                  <a:pt x="2169333" y="247317"/>
                </a:lnTo>
                <a:lnTo>
                  <a:pt x="237594" y="247317"/>
                </a:lnTo>
                <a:lnTo>
                  <a:pt x="237594" y="2139319"/>
                </a:lnTo>
                <a:lnTo>
                  <a:pt x="965805" y="2867530"/>
                </a:lnTo>
                <a:close/>
                <a:moveTo>
                  <a:pt x="2406928" y="3114848"/>
                </a:moveTo>
                <a:lnTo>
                  <a:pt x="1213123" y="3114848"/>
                </a:lnTo>
                <a:lnTo>
                  <a:pt x="899243" y="3114848"/>
                </a:lnTo>
                <a:lnTo>
                  <a:pt x="0" y="2215605"/>
                </a:lnTo>
                <a:lnTo>
                  <a:pt x="0" y="0"/>
                </a:lnTo>
                <a:lnTo>
                  <a:pt x="2406928" y="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userDrawn="1"/>
        </p:nvSpPr>
        <p:spPr bwMode="auto">
          <a:xfrm rot="2700000">
            <a:off x="10189462" y="119952"/>
            <a:ext cx="937178" cy="1317441"/>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102"/>
          <p:cNvSpPr/>
          <p:nvPr userDrawn="1"/>
        </p:nvSpPr>
        <p:spPr bwMode="auto">
          <a:xfrm>
            <a:off x="7983884" y="6259148"/>
            <a:ext cx="781263" cy="701375"/>
          </a:xfrm>
          <a:custGeom>
            <a:avLst/>
            <a:gdLst>
              <a:gd name="connsiteX0" fmla="*/ 406869 w 3609473"/>
              <a:gd name="connsiteY0" fmla="*/ 1147348 h 3240844"/>
              <a:gd name="connsiteX1" fmla="*/ 406869 w 3609473"/>
              <a:gd name="connsiteY1" fmla="*/ 2765595 h 3240844"/>
              <a:gd name="connsiteX2" fmla="*/ 3202604 w 3609473"/>
              <a:gd name="connsiteY2" fmla="*/ 2765595 h 3240844"/>
              <a:gd name="connsiteX3" fmla="*/ 3202604 w 3609473"/>
              <a:gd name="connsiteY3" fmla="*/ 1147348 h 3240844"/>
              <a:gd name="connsiteX4" fmla="*/ 609637 w 3609473"/>
              <a:gd name="connsiteY4" fmla="*/ 0 h 3240844"/>
              <a:gd name="connsiteX5" fmla="*/ 754016 w 3609473"/>
              <a:gd name="connsiteY5" fmla="*/ 144379 h 3240844"/>
              <a:gd name="connsiteX6" fmla="*/ 754016 w 3609473"/>
              <a:gd name="connsiteY6" fmla="*/ 461549 h 3240844"/>
              <a:gd name="connsiteX7" fmla="*/ 1049917 w 3609473"/>
              <a:gd name="connsiteY7" fmla="*/ 461549 h 3240844"/>
              <a:gd name="connsiteX8" fmla="*/ 1049917 w 3609473"/>
              <a:gd name="connsiteY8" fmla="*/ 144379 h 3240844"/>
              <a:gd name="connsiteX9" fmla="*/ 1194296 w 3609473"/>
              <a:gd name="connsiteY9" fmla="*/ 0 h 3240844"/>
              <a:gd name="connsiteX10" fmla="*/ 1338675 w 3609473"/>
              <a:gd name="connsiteY10" fmla="*/ 144379 h 3240844"/>
              <a:gd name="connsiteX11" fmla="*/ 1338675 w 3609473"/>
              <a:gd name="connsiteY11" fmla="*/ 461549 h 3240844"/>
              <a:gd name="connsiteX12" fmla="*/ 2261096 w 3609473"/>
              <a:gd name="connsiteY12" fmla="*/ 461549 h 3240844"/>
              <a:gd name="connsiteX13" fmla="*/ 2261096 w 3609473"/>
              <a:gd name="connsiteY13" fmla="*/ 144379 h 3240844"/>
              <a:gd name="connsiteX14" fmla="*/ 2405475 w 3609473"/>
              <a:gd name="connsiteY14" fmla="*/ 0 h 3240844"/>
              <a:gd name="connsiteX15" fmla="*/ 2549854 w 3609473"/>
              <a:gd name="connsiteY15" fmla="*/ 144379 h 3240844"/>
              <a:gd name="connsiteX16" fmla="*/ 2549853 w 3609473"/>
              <a:gd name="connsiteY16" fmla="*/ 461549 h 3240844"/>
              <a:gd name="connsiteX17" fmla="*/ 2845755 w 3609473"/>
              <a:gd name="connsiteY17" fmla="*/ 461549 h 3240844"/>
              <a:gd name="connsiteX18" fmla="*/ 2845755 w 3609473"/>
              <a:gd name="connsiteY18" fmla="*/ 144379 h 3240844"/>
              <a:gd name="connsiteX19" fmla="*/ 2990134 w 3609473"/>
              <a:gd name="connsiteY19" fmla="*/ 0 h 3240844"/>
              <a:gd name="connsiteX20" fmla="*/ 3134513 w 3609473"/>
              <a:gd name="connsiteY20" fmla="*/ 144379 h 3240844"/>
              <a:gd name="connsiteX21" fmla="*/ 3134512 w 3609473"/>
              <a:gd name="connsiteY21" fmla="*/ 461549 h 3240844"/>
              <a:gd name="connsiteX22" fmla="*/ 3290632 w 3609473"/>
              <a:gd name="connsiteY22" fmla="*/ 461549 h 3240844"/>
              <a:gd name="connsiteX23" fmla="*/ 3609473 w 3609473"/>
              <a:gd name="connsiteY23" fmla="*/ 780390 h 3240844"/>
              <a:gd name="connsiteX24" fmla="*/ 3609473 w 3609473"/>
              <a:gd name="connsiteY24" fmla="*/ 2922003 h 3240844"/>
              <a:gd name="connsiteX25" fmla="*/ 3290632 w 3609473"/>
              <a:gd name="connsiteY25" fmla="*/ 3240844 h 3240844"/>
              <a:gd name="connsiteX26" fmla="*/ 318841 w 3609473"/>
              <a:gd name="connsiteY26" fmla="*/ 3240844 h 3240844"/>
              <a:gd name="connsiteX27" fmla="*/ 0 w 3609473"/>
              <a:gd name="connsiteY27" fmla="*/ 2922003 h 3240844"/>
              <a:gd name="connsiteX28" fmla="*/ 0 w 3609473"/>
              <a:gd name="connsiteY28" fmla="*/ 780390 h 3240844"/>
              <a:gd name="connsiteX29" fmla="*/ 318841 w 3609473"/>
              <a:gd name="connsiteY29" fmla="*/ 461549 h 3240844"/>
              <a:gd name="connsiteX30" fmla="*/ 465258 w 3609473"/>
              <a:gd name="connsiteY30" fmla="*/ 461549 h 3240844"/>
              <a:gd name="connsiteX31" fmla="*/ 465258 w 3609473"/>
              <a:gd name="connsiteY31" fmla="*/ 144379 h 3240844"/>
              <a:gd name="connsiteX32" fmla="*/ 609637 w 3609473"/>
              <a:gd name="connsiteY32" fmla="*/ 0 h 3240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609473" h="3240844">
                <a:moveTo>
                  <a:pt x="406869" y="1147348"/>
                </a:moveTo>
                <a:lnTo>
                  <a:pt x="406869" y="2765595"/>
                </a:lnTo>
                <a:lnTo>
                  <a:pt x="3202604" y="2765595"/>
                </a:lnTo>
                <a:lnTo>
                  <a:pt x="3202604" y="1147348"/>
                </a:lnTo>
                <a:close/>
                <a:moveTo>
                  <a:pt x="609637" y="0"/>
                </a:moveTo>
                <a:cubicBezTo>
                  <a:pt x="689375" y="0"/>
                  <a:pt x="754016" y="64641"/>
                  <a:pt x="754016" y="144379"/>
                </a:cubicBezTo>
                <a:lnTo>
                  <a:pt x="754016" y="461549"/>
                </a:lnTo>
                <a:lnTo>
                  <a:pt x="1049917" y="461549"/>
                </a:lnTo>
                <a:lnTo>
                  <a:pt x="1049917" y="144379"/>
                </a:lnTo>
                <a:cubicBezTo>
                  <a:pt x="1049917" y="64641"/>
                  <a:pt x="1114558" y="0"/>
                  <a:pt x="1194296" y="0"/>
                </a:cubicBezTo>
                <a:cubicBezTo>
                  <a:pt x="1274034" y="0"/>
                  <a:pt x="1338675" y="64641"/>
                  <a:pt x="1338675" y="144379"/>
                </a:cubicBezTo>
                <a:lnTo>
                  <a:pt x="1338675" y="461549"/>
                </a:lnTo>
                <a:lnTo>
                  <a:pt x="2261096" y="461549"/>
                </a:lnTo>
                <a:lnTo>
                  <a:pt x="2261096" y="144379"/>
                </a:lnTo>
                <a:cubicBezTo>
                  <a:pt x="2261096" y="64641"/>
                  <a:pt x="2325737" y="0"/>
                  <a:pt x="2405475" y="0"/>
                </a:cubicBezTo>
                <a:cubicBezTo>
                  <a:pt x="2485213" y="0"/>
                  <a:pt x="2549854" y="64641"/>
                  <a:pt x="2549854" y="144379"/>
                </a:cubicBezTo>
                <a:lnTo>
                  <a:pt x="2549853" y="461549"/>
                </a:lnTo>
                <a:lnTo>
                  <a:pt x="2845755" y="461549"/>
                </a:lnTo>
                <a:lnTo>
                  <a:pt x="2845755" y="144379"/>
                </a:lnTo>
                <a:cubicBezTo>
                  <a:pt x="2845755" y="64641"/>
                  <a:pt x="2910396" y="0"/>
                  <a:pt x="2990134" y="0"/>
                </a:cubicBezTo>
                <a:cubicBezTo>
                  <a:pt x="3069872" y="0"/>
                  <a:pt x="3134513" y="64641"/>
                  <a:pt x="3134513" y="144379"/>
                </a:cubicBezTo>
                <a:lnTo>
                  <a:pt x="3134512" y="461549"/>
                </a:lnTo>
                <a:lnTo>
                  <a:pt x="3290632" y="461549"/>
                </a:lnTo>
                <a:cubicBezTo>
                  <a:pt x="3466723" y="461549"/>
                  <a:pt x="3609473" y="604299"/>
                  <a:pt x="3609473" y="780390"/>
                </a:cubicBezTo>
                <a:lnTo>
                  <a:pt x="3609473" y="2922003"/>
                </a:lnTo>
                <a:cubicBezTo>
                  <a:pt x="3609473" y="3098094"/>
                  <a:pt x="3466723" y="3240844"/>
                  <a:pt x="3290632" y="3240844"/>
                </a:cubicBezTo>
                <a:lnTo>
                  <a:pt x="318841" y="3240844"/>
                </a:lnTo>
                <a:cubicBezTo>
                  <a:pt x="142750" y="3240844"/>
                  <a:pt x="0" y="3098094"/>
                  <a:pt x="0" y="2922003"/>
                </a:cubicBezTo>
                <a:lnTo>
                  <a:pt x="0" y="780390"/>
                </a:lnTo>
                <a:cubicBezTo>
                  <a:pt x="0" y="604299"/>
                  <a:pt x="142750" y="461549"/>
                  <a:pt x="318841" y="461549"/>
                </a:cubicBezTo>
                <a:lnTo>
                  <a:pt x="465258" y="461549"/>
                </a:lnTo>
                <a:lnTo>
                  <a:pt x="465258" y="144379"/>
                </a:lnTo>
                <a:cubicBezTo>
                  <a:pt x="465258" y="64641"/>
                  <a:pt x="529899" y="0"/>
                  <a:pt x="609637"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4" name="Freeform 103"/>
          <p:cNvSpPr/>
          <p:nvPr userDrawn="1"/>
        </p:nvSpPr>
        <p:spPr bwMode="auto">
          <a:xfrm>
            <a:off x="-333720" y="304127"/>
            <a:ext cx="886931" cy="886805"/>
          </a:xfrm>
          <a:custGeom>
            <a:avLst/>
            <a:gdLst>
              <a:gd name="connsiteX0" fmla="*/ 1814839 w 3629678"/>
              <a:gd name="connsiteY0" fmla="*/ 272622 h 3629678"/>
              <a:gd name="connsiteX1" fmla="*/ 272622 w 3629678"/>
              <a:gd name="connsiteY1" fmla="*/ 1814839 h 3629678"/>
              <a:gd name="connsiteX2" fmla="*/ 1814839 w 3629678"/>
              <a:gd name="connsiteY2" fmla="*/ 3357056 h 3629678"/>
              <a:gd name="connsiteX3" fmla="*/ 3357056 w 3629678"/>
              <a:gd name="connsiteY3" fmla="*/ 1814839 h 3629678"/>
              <a:gd name="connsiteX4" fmla="*/ 2795832 w 3629678"/>
              <a:gd name="connsiteY4" fmla="*/ 624789 h 3629678"/>
              <a:gd name="connsiteX5" fmla="*/ 2771468 w 3629678"/>
              <a:gd name="connsiteY5" fmla="*/ 606570 h 3629678"/>
              <a:gd name="connsiteX6" fmla="*/ 2784242 w 3629678"/>
              <a:gd name="connsiteY6" fmla="*/ 622052 h 3629678"/>
              <a:gd name="connsiteX7" fmla="*/ 2835612 w 3629678"/>
              <a:gd name="connsiteY7" fmla="*/ 790227 h 3629678"/>
              <a:gd name="connsiteX8" fmla="*/ 2534822 w 3629678"/>
              <a:gd name="connsiteY8" fmla="*/ 1091017 h 3629678"/>
              <a:gd name="connsiteX9" fmla="*/ 2474202 w 3629678"/>
              <a:gd name="connsiteY9" fmla="*/ 1084906 h 3629678"/>
              <a:gd name="connsiteX10" fmla="*/ 2447387 w 3629678"/>
              <a:gd name="connsiteY10" fmla="*/ 1076582 h 3629678"/>
              <a:gd name="connsiteX11" fmla="*/ 2505307 w 3629678"/>
              <a:gd name="connsiteY11" fmla="*/ 1124371 h 3629678"/>
              <a:gd name="connsiteX12" fmla="*/ 2791309 w 3629678"/>
              <a:gd name="connsiteY12" fmla="*/ 1814839 h 3629678"/>
              <a:gd name="connsiteX13" fmla="*/ 1814839 w 3629678"/>
              <a:gd name="connsiteY13" fmla="*/ 2791309 h 3629678"/>
              <a:gd name="connsiteX14" fmla="*/ 838369 w 3629678"/>
              <a:gd name="connsiteY14" fmla="*/ 1814839 h 3629678"/>
              <a:gd name="connsiteX15" fmla="*/ 1814839 w 3629678"/>
              <a:gd name="connsiteY15" fmla="*/ 838369 h 3629678"/>
              <a:gd name="connsiteX16" fmla="*/ 2280282 w 3629678"/>
              <a:gd name="connsiteY16" fmla="*/ 956224 h 3629678"/>
              <a:gd name="connsiteX17" fmla="*/ 2286945 w 3629678"/>
              <a:gd name="connsiteY17" fmla="*/ 960271 h 3629678"/>
              <a:gd name="connsiteX18" fmla="*/ 2285402 w 3629678"/>
              <a:gd name="connsiteY18" fmla="*/ 958402 h 3629678"/>
              <a:gd name="connsiteX19" fmla="*/ 2234032 w 3629678"/>
              <a:gd name="connsiteY19" fmla="*/ 790227 h 3629678"/>
              <a:gd name="connsiteX20" fmla="*/ 2534822 w 3629678"/>
              <a:gd name="connsiteY20" fmla="*/ 489437 h 3629678"/>
              <a:gd name="connsiteX21" fmla="*/ 2595442 w 3629678"/>
              <a:gd name="connsiteY21" fmla="*/ 495548 h 3629678"/>
              <a:gd name="connsiteX22" fmla="*/ 2626248 w 3629678"/>
              <a:gd name="connsiteY22" fmla="*/ 505111 h 3629678"/>
              <a:gd name="connsiteX23" fmla="*/ 2549951 w 3629678"/>
              <a:gd name="connsiteY23" fmla="*/ 458759 h 3629678"/>
              <a:gd name="connsiteX24" fmla="*/ 1814839 w 3629678"/>
              <a:gd name="connsiteY24" fmla="*/ 272622 h 3629678"/>
              <a:gd name="connsiteX25" fmla="*/ 1814839 w 3629678"/>
              <a:gd name="connsiteY25" fmla="*/ 0 h 3629678"/>
              <a:gd name="connsiteX26" fmla="*/ 3629678 w 3629678"/>
              <a:gd name="connsiteY26" fmla="*/ 1814839 h 3629678"/>
              <a:gd name="connsiteX27" fmla="*/ 1814839 w 3629678"/>
              <a:gd name="connsiteY27" fmla="*/ 3629678 h 3629678"/>
              <a:gd name="connsiteX28" fmla="*/ 0 w 3629678"/>
              <a:gd name="connsiteY28" fmla="*/ 1814839 h 3629678"/>
              <a:gd name="connsiteX29" fmla="*/ 1814839 w 3629678"/>
              <a:gd name="connsiteY29" fmla="*/ 0 h 362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29678" h="3629678">
                <a:moveTo>
                  <a:pt x="1814839" y="272622"/>
                </a:moveTo>
                <a:cubicBezTo>
                  <a:pt x="963096" y="272622"/>
                  <a:pt x="272622" y="963096"/>
                  <a:pt x="272622" y="1814839"/>
                </a:cubicBezTo>
                <a:cubicBezTo>
                  <a:pt x="272622" y="2666582"/>
                  <a:pt x="963096" y="3357056"/>
                  <a:pt x="1814839" y="3357056"/>
                </a:cubicBezTo>
                <a:cubicBezTo>
                  <a:pt x="2666582" y="3357056"/>
                  <a:pt x="3357056" y="2666582"/>
                  <a:pt x="3357056" y="1814839"/>
                </a:cubicBezTo>
                <a:cubicBezTo>
                  <a:pt x="3357056" y="1335734"/>
                  <a:pt x="3138586" y="907655"/>
                  <a:pt x="2795832" y="624789"/>
                </a:cubicBezTo>
                <a:lnTo>
                  <a:pt x="2771468" y="606570"/>
                </a:lnTo>
                <a:lnTo>
                  <a:pt x="2784242" y="622052"/>
                </a:lnTo>
                <a:cubicBezTo>
                  <a:pt x="2816674" y="670059"/>
                  <a:pt x="2835612" y="727931"/>
                  <a:pt x="2835612" y="790227"/>
                </a:cubicBezTo>
                <a:cubicBezTo>
                  <a:pt x="2835612" y="956349"/>
                  <a:pt x="2700944" y="1091017"/>
                  <a:pt x="2534822" y="1091017"/>
                </a:cubicBezTo>
                <a:cubicBezTo>
                  <a:pt x="2514057" y="1091017"/>
                  <a:pt x="2493783" y="1088913"/>
                  <a:pt x="2474202" y="1084906"/>
                </a:cubicBezTo>
                <a:lnTo>
                  <a:pt x="2447387" y="1076582"/>
                </a:lnTo>
                <a:lnTo>
                  <a:pt x="2505307" y="1124371"/>
                </a:lnTo>
                <a:cubicBezTo>
                  <a:pt x="2682014" y="1301077"/>
                  <a:pt x="2791309" y="1545195"/>
                  <a:pt x="2791309" y="1814839"/>
                </a:cubicBezTo>
                <a:cubicBezTo>
                  <a:pt x="2791309" y="2354128"/>
                  <a:pt x="2354128" y="2791309"/>
                  <a:pt x="1814839" y="2791309"/>
                </a:cubicBezTo>
                <a:cubicBezTo>
                  <a:pt x="1275550" y="2791309"/>
                  <a:pt x="838369" y="2354128"/>
                  <a:pt x="838369" y="1814839"/>
                </a:cubicBezTo>
                <a:cubicBezTo>
                  <a:pt x="838369" y="1275550"/>
                  <a:pt x="1275550" y="838369"/>
                  <a:pt x="1814839" y="838369"/>
                </a:cubicBezTo>
                <a:cubicBezTo>
                  <a:pt x="1983367" y="838369"/>
                  <a:pt x="2141923" y="881063"/>
                  <a:pt x="2280282" y="956224"/>
                </a:cubicBezTo>
                <a:lnTo>
                  <a:pt x="2286945" y="960271"/>
                </a:lnTo>
                <a:lnTo>
                  <a:pt x="2285402" y="958402"/>
                </a:lnTo>
                <a:cubicBezTo>
                  <a:pt x="2252970" y="910395"/>
                  <a:pt x="2234032" y="852523"/>
                  <a:pt x="2234032" y="790227"/>
                </a:cubicBezTo>
                <a:cubicBezTo>
                  <a:pt x="2234032" y="624105"/>
                  <a:pt x="2368700" y="489437"/>
                  <a:pt x="2534822" y="489437"/>
                </a:cubicBezTo>
                <a:cubicBezTo>
                  <a:pt x="2555587" y="489437"/>
                  <a:pt x="2575861" y="491541"/>
                  <a:pt x="2595442" y="495548"/>
                </a:cubicBezTo>
                <a:lnTo>
                  <a:pt x="2626248" y="505111"/>
                </a:lnTo>
                <a:lnTo>
                  <a:pt x="2549951" y="458759"/>
                </a:lnTo>
                <a:cubicBezTo>
                  <a:pt x="2331429" y="340051"/>
                  <a:pt x="2081009" y="272622"/>
                  <a:pt x="1814839" y="272622"/>
                </a:cubicBezTo>
                <a:close/>
                <a:moveTo>
                  <a:pt x="1814839" y="0"/>
                </a:moveTo>
                <a:cubicBezTo>
                  <a:pt x="2817147" y="0"/>
                  <a:pt x="3629678" y="812531"/>
                  <a:pt x="3629678" y="1814839"/>
                </a:cubicBezTo>
                <a:cubicBezTo>
                  <a:pt x="3629678" y="2817147"/>
                  <a:pt x="2817147" y="3629678"/>
                  <a:pt x="1814839" y="3629678"/>
                </a:cubicBezTo>
                <a:cubicBezTo>
                  <a:pt x="812531" y="3629678"/>
                  <a:pt x="0" y="2817147"/>
                  <a:pt x="0" y="1814839"/>
                </a:cubicBezTo>
                <a:cubicBezTo>
                  <a:pt x="0" y="812531"/>
                  <a:pt x="812531" y="0"/>
                  <a:pt x="1814839"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Freeform 21"/>
          <p:cNvSpPr>
            <a:spLocks noEditPoints="1"/>
          </p:cNvSpPr>
          <p:nvPr userDrawn="1"/>
        </p:nvSpPr>
        <p:spPr bwMode="auto">
          <a:xfrm>
            <a:off x="10556784" y="4813943"/>
            <a:ext cx="1130917" cy="985549"/>
          </a:xfrm>
          <a:custGeom>
            <a:avLst/>
            <a:gdLst>
              <a:gd name="T0" fmla="*/ 1220 w 1220"/>
              <a:gd name="T1" fmla="*/ 204 h 1063"/>
              <a:gd name="T2" fmla="*/ 1096 w 1220"/>
              <a:gd name="T3" fmla="*/ 79 h 1063"/>
              <a:gd name="T4" fmla="*/ 978 w 1220"/>
              <a:gd name="T5" fmla="*/ 164 h 1063"/>
              <a:gd name="T6" fmla="*/ 589 w 1220"/>
              <a:gd name="T7" fmla="*/ 115 h 1063"/>
              <a:gd name="T8" fmla="*/ 465 w 1220"/>
              <a:gd name="T9" fmla="*/ 0 h 1063"/>
              <a:gd name="T10" fmla="*/ 340 w 1220"/>
              <a:gd name="T11" fmla="*/ 124 h 1063"/>
              <a:gd name="T12" fmla="*/ 370 w 1220"/>
              <a:gd name="T13" fmla="*/ 205 h 1063"/>
              <a:gd name="T14" fmla="*/ 180 w 1220"/>
              <a:gd name="T15" fmla="*/ 453 h 1063"/>
              <a:gd name="T16" fmla="*/ 125 w 1220"/>
              <a:gd name="T17" fmla="*/ 440 h 1063"/>
              <a:gd name="T18" fmla="*/ 0 w 1220"/>
              <a:gd name="T19" fmla="*/ 564 h 1063"/>
              <a:gd name="T20" fmla="*/ 125 w 1220"/>
              <a:gd name="T21" fmla="*/ 689 h 1063"/>
              <a:gd name="T22" fmla="*/ 197 w 1220"/>
              <a:gd name="T23" fmla="*/ 666 h 1063"/>
              <a:gd name="T24" fmla="*/ 416 w 1220"/>
              <a:gd name="T25" fmla="*/ 872 h 1063"/>
              <a:gd name="T26" fmla="*/ 397 w 1220"/>
              <a:gd name="T27" fmla="*/ 938 h 1063"/>
              <a:gd name="T28" fmla="*/ 521 w 1220"/>
              <a:gd name="T29" fmla="*/ 1063 h 1063"/>
              <a:gd name="T30" fmla="*/ 646 w 1220"/>
              <a:gd name="T31" fmla="*/ 938 h 1063"/>
              <a:gd name="T32" fmla="*/ 642 w 1220"/>
              <a:gd name="T33" fmla="*/ 908 h 1063"/>
              <a:gd name="T34" fmla="*/ 948 w 1220"/>
              <a:gd name="T35" fmla="*/ 763 h 1063"/>
              <a:gd name="T36" fmla="*/ 1048 w 1220"/>
              <a:gd name="T37" fmla="*/ 814 h 1063"/>
              <a:gd name="T38" fmla="*/ 1173 w 1220"/>
              <a:gd name="T39" fmla="*/ 689 h 1063"/>
              <a:gd name="T40" fmla="*/ 1084 w 1220"/>
              <a:gd name="T41" fmla="*/ 570 h 1063"/>
              <a:gd name="T42" fmla="*/ 1108 w 1220"/>
              <a:gd name="T43" fmla="*/ 327 h 1063"/>
              <a:gd name="T44" fmla="*/ 1220 w 1220"/>
              <a:gd name="T45" fmla="*/ 204 h 1063"/>
              <a:gd name="T46" fmla="*/ 521 w 1220"/>
              <a:gd name="T47" fmla="*/ 594 h 1063"/>
              <a:gd name="T48" fmla="*/ 493 w 1220"/>
              <a:gd name="T49" fmla="*/ 245 h 1063"/>
              <a:gd name="T50" fmla="*/ 535 w 1220"/>
              <a:gd name="T51" fmla="*/ 226 h 1063"/>
              <a:gd name="T52" fmla="*/ 944 w 1220"/>
              <a:gd name="T53" fmla="*/ 621 h 1063"/>
              <a:gd name="T54" fmla="*/ 930 w 1220"/>
              <a:gd name="T55" fmla="*/ 649 h 1063"/>
              <a:gd name="T56" fmla="*/ 521 w 1220"/>
              <a:gd name="T57" fmla="*/ 594 h 1063"/>
              <a:gd name="T58" fmla="*/ 490 w 1220"/>
              <a:gd name="T59" fmla="*/ 818 h 1063"/>
              <a:gd name="T60" fmla="*/ 449 w 1220"/>
              <a:gd name="T61" fmla="*/ 837 h 1063"/>
              <a:gd name="T62" fmla="*/ 230 w 1220"/>
              <a:gd name="T63" fmla="*/ 631 h 1063"/>
              <a:gd name="T64" fmla="*/ 242 w 1220"/>
              <a:gd name="T65" fmla="*/ 605 h 1063"/>
              <a:gd name="T66" fmla="*/ 476 w 1220"/>
              <a:gd name="T67" fmla="*/ 636 h 1063"/>
              <a:gd name="T68" fmla="*/ 490 w 1220"/>
              <a:gd name="T69" fmla="*/ 818 h 1063"/>
              <a:gd name="T70" fmla="*/ 249 w 1220"/>
              <a:gd name="T71" fmla="*/ 558 h 1063"/>
              <a:gd name="T72" fmla="*/ 218 w 1220"/>
              <a:gd name="T73" fmla="*/ 482 h 1063"/>
              <a:gd name="T74" fmla="*/ 408 w 1220"/>
              <a:gd name="T75" fmla="*/ 235 h 1063"/>
              <a:gd name="T76" fmla="*/ 445 w 1220"/>
              <a:gd name="T77" fmla="*/ 247 h 1063"/>
              <a:gd name="T78" fmla="*/ 472 w 1220"/>
              <a:gd name="T79" fmla="*/ 587 h 1063"/>
              <a:gd name="T80" fmla="*/ 249 w 1220"/>
              <a:gd name="T81" fmla="*/ 558 h 1063"/>
              <a:gd name="T82" fmla="*/ 977 w 1220"/>
              <a:gd name="T83" fmla="*/ 587 h 1063"/>
              <a:gd name="T84" fmla="*/ 569 w 1220"/>
              <a:gd name="T85" fmla="*/ 192 h 1063"/>
              <a:gd name="T86" fmla="*/ 583 w 1220"/>
              <a:gd name="T87" fmla="*/ 163 h 1063"/>
              <a:gd name="T88" fmla="*/ 972 w 1220"/>
              <a:gd name="T89" fmla="*/ 212 h 1063"/>
              <a:gd name="T90" fmla="*/ 1060 w 1220"/>
              <a:gd name="T91" fmla="*/ 323 h 1063"/>
              <a:gd name="T92" fmla="*/ 1036 w 1220"/>
              <a:gd name="T93" fmla="*/ 566 h 1063"/>
              <a:gd name="T94" fmla="*/ 977 w 1220"/>
              <a:gd name="T95" fmla="*/ 587 h 1063"/>
              <a:gd name="T96" fmla="*/ 621 w 1220"/>
              <a:gd name="T97" fmla="*/ 864 h 1063"/>
              <a:gd name="T98" fmla="*/ 538 w 1220"/>
              <a:gd name="T99" fmla="*/ 815 h 1063"/>
              <a:gd name="T100" fmla="*/ 524 w 1220"/>
              <a:gd name="T101" fmla="*/ 643 h 1063"/>
              <a:gd name="T102" fmla="*/ 924 w 1220"/>
              <a:gd name="T103" fmla="*/ 696 h 1063"/>
              <a:gd name="T104" fmla="*/ 927 w 1220"/>
              <a:gd name="T105" fmla="*/ 720 h 1063"/>
              <a:gd name="T106" fmla="*/ 621 w 1220"/>
              <a:gd name="T107" fmla="*/ 864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0" h="1063">
                <a:moveTo>
                  <a:pt x="1220" y="204"/>
                </a:moveTo>
                <a:cubicBezTo>
                  <a:pt x="1220" y="135"/>
                  <a:pt x="1164" y="79"/>
                  <a:pt x="1096" y="79"/>
                </a:cubicBezTo>
                <a:cubicBezTo>
                  <a:pt x="1041" y="79"/>
                  <a:pt x="994" y="115"/>
                  <a:pt x="978" y="164"/>
                </a:cubicBezTo>
                <a:cubicBezTo>
                  <a:pt x="589" y="115"/>
                  <a:pt x="589" y="115"/>
                  <a:pt x="589" y="115"/>
                </a:cubicBezTo>
                <a:cubicBezTo>
                  <a:pt x="584" y="51"/>
                  <a:pt x="530" y="0"/>
                  <a:pt x="465" y="0"/>
                </a:cubicBezTo>
                <a:cubicBezTo>
                  <a:pt x="396" y="0"/>
                  <a:pt x="340" y="55"/>
                  <a:pt x="340" y="124"/>
                </a:cubicBezTo>
                <a:cubicBezTo>
                  <a:pt x="340" y="155"/>
                  <a:pt x="352" y="183"/>
                  <a:pt x="370" y="205"/>
                </a:cubicBezTo>
                <a:cubicBezTo>
                  <a:pt x="180" y="453"/>
                  <a:pt x="180" y="453"/>
                  <a:pt x="180" y="453"/>
                </a:cubicBezTo>
                <a:cubicBezTo>
                  <a:pt x="163" y="445"/>
                  <a:pt x="145" y="440"/>
                  <a:pt x="125" y="440"/>
                </a:cubicBezTo>
                <a:cubicBezTo>
                  <a:pt x="56" y="440"/>
                  <a:pt x="0" y="496"/>
                  <a:pt x="0" y="564"/>
                </a:cubicBezTo>
                <a:cubicBezTo>
                  <a:pt x="0" y="633"/>
                  <a:pt x="56" y="689"/>
                  <a:pt x="125" y="689"/>
                </a:cubicBezTo>
                <a:cubicBezTo>
                  <a:pt x="152" y="689"/>
                  <a:pt x="177" y="680"/>
                  <a:pt x="197" y="666"/>
                </a:cubicBezTo>
                <a:cubicBezTo>
                  <a:pt x="416" y="872"/>
                  <a:pt x="416" y="872"/>
                  <a:pt x="416" y="872"/>
                </a:cubicBezTo>
                <a:cubicBezTo>
                  <a:pt x="404" y="891"/>
                  <a:pt x="397" y="914"/>
                  <a:pt x="397" y="938"/>
                </a:cubicBezTo>
                <a:cubicBezTo>
                  <a:pt x="397" y="1007"/>
                  <a:pt x="453" y="1063"/>
                  <a:pt x="521" y="1063"/>
                </a:cubicBezTo>
                <a:cubicBezTo>
                  <a:pt x="590" y="1063"/>
                  <a:pt x="646" y="1007"/>
                  <a:pt x="646" y="938"/>
                </a:cubicBezTo>
                <a:cubicBezTo>
                  <a:pt x="646" y="928"/>
                  <a:pt x="644" y="918"/>
                  <a:pt x="642" y="908"/>
                </a:cubicBezTo>
                <a:cubicBezTo>
                  <a:pt x="948" y="763"/>
                  <a:pt x="948" y="763"/>
                  <a:pt x="948" y="763"/>
                </a:cubicBezTo>
                <a:cubicBezTo>
                  <a:pt x="970" y="794"/>
                  <a:pt x="1007" y="814"/>
                  <a:pt x="1048" y="814"/>
                </a:cubicBezTo>
                <a:cubicBezTo>
                  <a:pt x="1117" y="814"/>
                  <a:pt x="1173" y="758"/>
                  <a:pt x="1173" y="689"/>
                </a:cubicBezTo>
                <a:cubicBezTo>
                  <a:pt x="1173" y="633"/>
                  <a:pt x="1135" y="586"/>
                  <a:pt x="1084" y="570"/>
                </a:cubicBezTo>
                <a:cubicBezTo>
                  <a:pt x="1108" y="327"/>
                  <a:pt x="1108" y="327"/>
                  <a:pt x="1108" y="327"/>
                </a:cubicBezTo>
                <a:cubicBezTo>
                  <a:pt x="1171" y="321"/>
                  <a:pt x="1220" y="268"/>
                  <a:pt x="1220" y="204"/>
                </a:cubicBezTo>
                <a:close/>
                <a:moveTo>
                  <a:pt x="521" y="594"/>
                </a:moveTo>
                <a:cubicBezTo>
                  <a:pt x="493" y="245"/>
                  <a:pt x="493" y="245"/>
                  <a:pt x="493" y="245"/>
                </a:cubicBezTo>
                <a:cubicBezTo>
                  <a:pt x="509" y="241"/>
                  <a:pt x="523" y="235"/>
                  <a:pt x="535" y="226"/>
                </a:cubicBezTo>
                <a:cubicBezTo>
                  <a:pt x="944" y="621"/>
                  <a:pt x="944" y="621"/>
                  <a:pt x="944" y="621"/>
                </a:cubicBezTo>
                <a:cubicBezTo>
                  <a:pt x="938" y="630"/>
                  <a:pt x="934" y="639"/>
                  <a:pt x="930" y="649"/>
                </a:cubicBezTo>
                <a:lnTo>
                  <a:pt x="521" y="594"/>
                </a:lnTo>
                <a:close/>
                <a:moveTo>
                  <a:pt x="490" y="818"/>
                </a:moveTo>
                <a:cubicBezTo>
                  <a:pt x="475" y="822"/>
                  <a:pt x="461" y="828"/>
                  <a:pt x="449" y="837"/>
                </a:cubicBezTo>
                <a:cubicBezTo>
                  <a:pt x="230" y="631"/>
                  <a:pt x="230" y="631"/>
                  <a:pt x="230" y="631"/>
                </a:cubicBezTo>
                <a:cubicBezTo>
                  <a:pt x="235" y="623"/>
                  <a:pt x="239" y="614"/>
                  <a:pt x="242" y="605"/>
                </a:cubicBezTo>
                <a:cubicBezTo>
                  <a:pt x="476" y="636"/>
                  <a:pt x="476" y="636"/>
                  <a:pt x="476" y="636"/>
                </a:cubicBezTo>
                <a:lnTo>
                  <a:pt x="490" y="818"/>
                </a:lnTo>
                <a:close/>
                <a:moveTo>
                  <a:pt x="249" y="558"/>
                </a:moveTo>
                <a:cubicBezTo>
                  <a:pt x="247" y="529"/>
                  <a:pt x="236" y="502"/>
                  <a:pt x="218" y="482"/>
                </a:cubicBezTo>
                <a:cubicBezTo>
                  <a:pt x="408" y="235"/>
                  <a:pt x="408" y="235"/>
                  <a:pt x="408" y="235"/>
                </a:cubicBezTo>
                <a:cubicBezTo>
                  <a:pt x="420" y="241"/>
                  <a:pt x="432" y="245"/>
                  <a:pt x="445" y="247"/>
                </a:cubicBezTo>
                <a:cubicBezTo>
                  <a:pt x="472" y="587"/>
                  <a:pt x="472" y="587"/>
                  <a:pt x="472" y="587"/>
                </a:cubicBezTo>
                <a:lnTo>
                  <a:pt x="249" y="558"/>
                </a:lnTo>
                <a:close/>
                <a:moveTo>
                  <a:pt x="977" y="587"/>
                </a:moveTo>
                <a:cubicBezTo>
                  <a:pt x="569" y="192"/>
                  <a:pt x="569" y="192"/>
                  <a:pt x="569" y="192"/>
                </a:cubicBezTo>
                <a:cubicBezTo>
                  <a:pt x="575" y="183"/>
                  <a:pt x="579" y="173"/>
                  <a:pt x="583" y="163"/>
                </a:cubicBezTo>
                <a:cubicBezTo>
                  <a:pt x="972" y="212"/>
                  <a:pt x="972" y="212"/>
                  <a:pt x="972" y="212"/>
                </a:cubicBezTo>
                <a:cubicBezTo>
                  <a:pt x="975" y="265"/>
                  <a:pt x="1011" y="308"/>
                  <a:pt x="1060" y="323"/>
                </a:cubicBezTo>
                <a:cubicBezTo>
                  <a:pt x="1036" y="566"/>
                  <a:pt x="1036" y="566"/>
                  <a:pt x="1036" y="566"/>
                </a:cubicBezTo>
                <a:cubicBezTo>
                  <a:pt x="1015" y="568"/>
                  <a:pt x="994" y="575"/>
                  <a:pt x="977" y="587"/>
                </a:cubicBezTo>
                <a:close/>
                <a:moveTo>
                  <a:pt x="621" y="864"/>
                </a:moveTo>
                <a:cubicBezTo>
                  <a:pt x="602" y="838"/>
                  <a:pt x="572" y="819"/>
                  <a:pt x="538" y="815"/>
                </a:cubicBezTo>
                <a:cubicBezTo>
                  <a:pt x="524" y="643"/>
                  <a:pt x="524" y="643"/>
                  <a:pt x="524" y="643"/>
                </a:cubicBezTo>
                <a:cubicBezTo>
                  <a:pt x="924" y="696"/>
                  <a:pt x="924" y="696"/>
                  <a:pt x="924" y="696"/>
                </a:cubicBezTo>
                <a:cubicBezTo>
                  <a:pt x="924" y="704"/>
                  <a:pt x="925" y="712"/>
                  <a:pt x="927" y="720"/>
                </a:cubicBezTo>
                <a:lnTo>
                  <a:pt x="621" y="86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06" name="Group 105"/>
          <p:cNvGrpSpPr/>
          <p:nvPr userDrawn="1"/>
        </p:nvGrpSpPr>
        <p:grpSpPr>
          <a:xfrm>
            <a:off x="3635159" y="-514257"/>
            <a:ext cx="1148952" cy="1252898"/>
            <a:chOff x="2237542" y="-1557171"/>
            <a:chExt cx="3556000" cy="3878263"/>
          </a:xfrm>
          <a:solidFill>
            <a:schemeClr val="bg1">
              <a:lumMod val="85000"/>
            </a:schemeClr>
          </a:solidFill>
        </p:grpSpPr>
        <p:sp>
          <p:nvSpPr>
            <p:cNvPr id="107" name="Freeform 25"/>
            <p:cNvSpPr>
              <a:spLocks noEditPoints="1"/>
            </p:cNvSpPr>
            <p:nvPr/>
          </p:nvSpPr>
          <p:spPr bwMode="auto">
            <a:xfrm>
              <a:off x="2237542" y="-1557171"/>
              <a:ext cx="3556000" cy="3878263"/>
            </a:xfrm>
            <a:custGeom>
              <a:avLst/>
              <a:gdLst>
                <a:gd name="T0" fmla="*/ 876 w 945"/>
                <a:gd name="T1" fmla="*/ 641 h 1031"/>
                <a:gd name="T2" fmla="*/ 889 w 945"/>
                <a:gd name="T3" fmla="*/ 423 h 1031"/>
                <a:gd name="T4" fmla="*/ 945 w 945"/>
                <a:gd name="T5" fmla="*/ 335 h 1031"/>
                <a:gd name="T6" fmla="*/ 847 w 945"/>
                <a:gd name="T7" fmla="*/ 236 h 1031"/>
                <a:gd name="T8" fmla="*/ 795 w 945"/>
                <a:gd name="T9" fmla="*/ 251 h 1031"/>
                <a:gd name="T10" fmla="*/ 558 w 945"/>
                <a:gd name="T11" fmla="*/ 115 h 1031"/>
                <a:gd name="T12" fmla="*/ 560 w 945"/>
                <a:gd name="T13" fmla="*/ 98 h 1031"/>
                <a:gd name="T14" fmla="*/ 461 w 945"/>
                <a:gd name="T15" fmla="*/ 0 h 1031"/>
                <a:gd name="T16" fmla="*/ 363 w 945"/>
                <a:gd name="T17" fmla="*/ 98 h 1031"/>
                <a:gd name="T18" fmla="*/ 363 w 945"/>
                <a:gd name="T19" fmla="*/ 106 h 1031"/>
                <a:gd name="T20" fmla="*/ 176 w 945"/>
                <a:gd name="T21" fmla="*/ 230 h 1031"/>
                <a:gd name="T22" fmla="*/ 124 w 945"/>
                <a:gd name="T23" fmla="*/ 215 h 1031"/>
                <a:gd name="T24" fmla="*/ 26 w 945"/>
                <a:gd name="T25" fmla="*/ 313 h 1031"/>
                <a:gd name="T26" fmla="*/ 72 w 945"/>
                <a:gd name="T27" fmla="*/ 397 h 1031"/>
                <a:gd name="T28" fmla="*/ 59 w 945"/>
                <a:gd name="T29" fmla="*/ 625 h 1031"/>
                <a:gd name="T30" fmla="*/ 0 w 945"/>
                <a:gd name="T31" fmla="*/ 715 h 1031"/>
                <a:gd name="T32" fmla="*/ 98 w 945"/>
                <a:gd name="T33" fmla="*/ 813 h 1031"/>
                <a:gd name="T34" fmla="*/ 155 w 945"/>
                <a:gd name="T35" fmla="*/ 794 h 1031"/>
                <a:gd name="T36" fmla="*/ 397 w 945"/>
                <a:gd name="T37" fmla="*/ 933 h 1031"/>
                <a:gd name="T38" fmla="*/ 495 w 945"/>
                <a:gd name="T39" fmla="*/ 1031 h 1031"/>
                <a:gd name="T40" fmla="*/ 593 w 945"/>
                <a:gd name="T41" fmla="*/ 933 h 1031"/>
                <a:gd name="T42" fmla="*/ 778 w 945"/>
                <a:gd name="T43" fmla="*/ 811 h 1031"/>
                <a:gd name="T44" fmla="*/ 823 w 945"/>
                <a:gd name="T45" fmla="*/ 822 h 1031"/>
                <a:gd name="T46" fmla="*/ 921 w 945"/>
                <a:gd name="T47" fmla="*/ 724 h 1031"/>
                <a:gd name="T48" fmla="*/ 876 w 945"/>
                <a:gd name="T49" fmla="*/ 641 h 1031"/>
                <a:gd name="T50" fmla="*/ 461 w 945"/>
                <a:gd name="T51" fmla="*/ 196 h 1031"/>
                <a:gd name="T52" fmla="*/ 529 w 945"/>
                <a:gd name="T53" fmla="*/ 169 h 1031"/>
                <a:gd name="T54" fmla="*/ 755 w 945"/>
                <a:gd name="T55" fmla="*/ 300 h 1031"/>
                <a:gd name="T56" fmla="*/ 748 w 945"/>
                <a:gd name="T57" fmla="*/ 335 h 1031"/>
                <a:gd name="T58" fmla="*/ 826 w 945"/>
                <a:gd name="T59" fmla="*/ 431 h 1031"/>
                <a:gd name="T60" fmla="*/ 815 w 945"/>
                <a:gd name="T61" fmla="*/ 626 h 1031"/>
                <a:gd name="T62" fmla="*/ 724 w 945"/>
                <a:gd name="T63" fmla="*/ 724 h 1031"/>
                <a:gd name="T64" fmla="*/ 734 w 945"/>
                <a:gd name="T65" fmla="*/ 766 h 1031"/>
                <a:gd name="T66" fmla="*/ 572 w 945"/>
                <a:gd name="T67" fmla="*/ 872 h 1031"/>
                <a:gd name="T68" fmla="*/ 495 w 945"/>
                <a:gd name="T69" fmla="*/ 834 h 1031"/>
                <a:gd name="T70" fmla="*/ 417 w 945"/>
                <a:gd name="T71" fmla="*/ 873 h 1031"/>
                <a:gd name="T72" fmla="*/ 192 w 945"/>
                <a:gd name="T73" fmla="*/ 743 h 1031"/>
                <a:gd name="T74" fmla="*/ 196 w 945"/>
                <a:gd name="T75" fmla="*/ 715 h 1031"/>
                <a:gd name="T76" fmla="*/ 121 w 945"/>
                <a:gd name="T77" fmla="*/ 619 h 1031"/>
                <a:gd name="T78" fmla="*/ 134 w 945"/>
                <a:gd name="T79" fmla="*/ 411 h 1031"/>
                <a:gd name="T80" fmla="*/ 222 w 945"/>
                <a:gd name="T81" fmla="*/ 313 h 1031"/>
                <a:gd name="T82" fmla="*/ 216 w 945"/>
                <a:gd name="T83" fmla="*/ 278 h 1031"/>
                <a:gd name="T84" fmla="*/ 388 w 945"/>
                <a:gd name="T85" fmla="*/ 164 h 1031"/>
                <a:gd name="T86" fmla="*/ 461 w 945"/>
                <a:gd name="T87" fmla="*/ 196 h 1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1031">
                  <a:moveTo>
                    <a:pt x="876" y="641"/>
                  </a:moveTo>
                  <a:cubicBezTo>
                    <a:pt x="889" y="423"/>
                    <a:pt x="889" y="423"/>
                    <a:pt x="889" y="423"/>
                  </a:cubicBezTo>
                  <a:cubicBezTo>
                    <a:pt x="922" y="407"/>
                    <a:pt x="945" y="374"/>
                    <a:pt x="945" y="335"/>
                  </a:cubicBezTo>
                  <a:cubicBezTo>
                    <a:pt x="945" y="280"/>
                    <a:pt x="901" y="236"/>
                    <a:pt x="847" y="236"/>
                  </a:cubicBezTo>
                  <a:cubicBezTo>
                    <a:pt x="827" y="236"/>
                    <a:pt x="810" y="242"/>
                    <a:pt x="795" y="251"/>
                  </a:cubicBezTo>
                  <a:cubicBezTo>
                    <a:pt x="558" y="115"/>
                    <a:pt x="558" y="115"/>
                    <a:pt x="558" y="115"/>
                  </a:cubicBezTo>
                  <a:cubicBezTo>
                    <a:pt x="559" y="109"/>
                    <a:pt x="560" y="104"/>
                    <a:pt x="560" y="98"/>
                  </a:cubicBezTo>
                  <a:cubicBezTo>
                    <a:pt x="560" y="44"/>
                    <a:pt x="516" y="0"/>
                    <a:pt x="461" y="0"/>
                  </a:cubicBezTo>
                  <a:cubicBezTo>
                    <a:pt x="407" y="0"/>
                    <a:pt x="363" y="44"/>
                    <a:pt x="363" y="98"/>
                  </a:cubicBezTo>
                  <a:cubicBezTo>
                    <a:pt x="363" y="100"/>
                    <a:pt x="363" y="103"/>
                    <a:pt x="363" y="106"/>
                  </a:cubicBezTo>
                  <a:cubicBezTo>
                    <a:pt x="176" y="230"/>
                    <a:pt x="176" y="230"/>
                    <a:pt x="176" y="230"/>
                  </a:cubicBezTo>
                  <a:cubicBezTo>
                    <a:pt x="161" y="221"/>
                    <a:pt x="143" y="215"/>
                    <a:pt x="124" y="215"/>
                  </a:cubicBezTo>
                  <a:cubicBezTo>
                    <a:pt x="70" y="215"/>
                    <a:pt x="26" y="259"/>
                    <a:pt x="26" y="313"/>
                  </a:cubicBezTo>
                  <a:cubicBezTo>
                    <a:pt x="26" y="349"/>
                    <a:pt x="45" y="379"/>
                    <a:pt x="72" y="397"/>
                  </a:cubicBezTo>
                  <a:cubicBezTo>
                    <a:pt x="59" y="625"/>
                    <a:pt x="59" y="625"/>
                    <a:pt x="59" y="625"/>
                  </a:cubicBezTo>
                  <a:cubicBezTo>
                    <a:pt x="24" y="640"/>
                    <a:pt x="0" y="674"/>
                    <a:pt x="0" y="715"/>
                  </a:cubicBezTo>
                  <a:cubicBezTo>
                    <a:pt x="0" y="769"/>
                    <a:pt x="44" y="813"/>
                    <a:pt x="98" y="813"/>
                  </a:cubicBezTo>
                  <a:cubicBezTo>
                    <a:pt x="119" y="813"/>
                    <a:pt x="139" y="806"/>
                    <a:pt x="155" y="794"/>
                  </a:cubicBezTo>
                  <a:cubicBezTo>
                    <a:pt x="397" y="933"/>
                    <a:pt x="397" y="933"/>
                    <a:pt x="397" y="933"/>
                  </a:cubicBezTo>
                  <a:cubicBezTo>
                    <a:pt x="397" y="987"/>
                    <a:pt x="441" y="1031"/>
                    <a:pt x="495" y="1031"/>
                  </a:cubicBezTo>
                  <a:cubicBezTo>
                    <a:pt x="549" y="1031"/>
                    <a:pt x="593" y="987"/>
                    <a:pt x="593" y="933"/>
                  </a:cubicBezTo>
                  <a:cubicBezTo>
                    <a:pt x="778" y="811"/>
                    <a:pt x="778" y="811"/>
                    <a:pt x="778" y="811"/>
                  </a:cubicBezTo>
                  <a:cubicBezTo>
                    <a:pt x="791" y="818"/>
                    <a:pt x="807" y="822"/>
                    <a:pt x="823" y="822"/>
                  </a:cubicBezTo>
                  <a:cubicBezTo>
                    <a:pt x="877" y="822"/>
                    <a:pt x="921" y="778"/>
                    <a:pt x="921" y="724"/>
                  </a:cubicBezTo>
                  <a:cubicBezTo>
                    <a:pt x="921" y="689"/>
                    <a:pt x="903" y="659"/>
                    <a:pt x="876" y="641"/>
                  </a:cubicBezTo>
                  <a:close/>
                  <a:moveTo>
                    <a:pt x="461" y="196"/>
                  </a:moveTo>
                  <a:cubicBezTo>
                    <a:pt x="487" y="196"/>
                    <a:pt x="511" y="186"/>
                    <a:pt x="529" y="169"/>
                  </a:cubicBezTo>
                  <a:cubicBezTo>
                    <a:pt x="755" y="300"/>
                    <a:pt x="755" y="300"/>
                    <a:pt x="755" y="300"/>
                  </a:cubicBezTo>
                  <a:cubicBezTo>
                    <a:pt x="751" y="311"/>
                    <a:pt x="748" y="322"/>
                    <a:pt x="748" y="335"/>
                  </a:cubicBezTo>
                  <a:cubicBezTo>
                    <a:pt x="748" y="382"/>
                    <a:pt x="782" y="421"/>
                    <a:pt x="826" y="431"/>
                  </a:cubicBezTo>
                  <a:cubicBezTo>
                    <a:pt x="815" y="626"/>
                    <a:pt x="815" y="626"/>
                    <a:pt x="815" y="626"/>
                  </a:cubicBezTo>
                  <a:cubicBezTo>
                    <a:pt x="764" y="630"/>
                    <a:pt x="724" y="672"/>
                    <a:pt x="724" y="724"/>
                  </a:cubicBezTo>
                  <a:cubicBezTo>
                    <a:pt x="724" y="739"/>
                    <a:pt x="728" y="753"/>
                    <a:pt x="734" y="766"/>
                  </a:cubicBezTo>
                  <a:cubicBezTo>
                    <a:pt x="572" y="872"/>
                    <a:pt x="572" y="872"/>
                    <a:pt x="572" y="872"/>
                  </a:cubicBezTo>
                  <a:cubicBezTo>
                    <a:pt x="554" y="849"/>
                    <a:pt x="526" y="834"/>
                    <a:pt x="495" y="834"/>
                  </a:cubicBezTo>
                  <a:cubicBezTo>
                    <a:pt x="463" y="834"/>
                    <a:pt x="435" y="850"/>
                    <a:pt x="417" y="873"/>
                  </a:cubicBezTo>
                  <a:cubicBezTo>
                    <a:pt x="192" y="743"/>
                    <a:pt x="192" y="743"/>
                    <a:pt x="192" y="743"/>
                  </a:cubicBezTo>
                  <a:cubicBezTo>
                    <a:pt x="194" y="734"/>
                    <a:pt x="196" y="725"/>
                    <a:pt x="196" y="715"/>
                  </a:cubicBezTo>
                  <a:cubicBezTo>
                    <a:pt x="196" y="668"/>
                    <a:pt x="164" y="630"/>
                    <a:pt x="121" y="619"/>
                  </a:cubicBezTo>
                  <a:cubicBezTo>
                    <a:pt x="134" y="411"/>
                    <a:pt x="134" y="411"/>
                    <a:pt x="134" y="411"/>
                  </a:cubicBezTo>
                  <a:cubicBezTo>
                    <a:pt x="183" y="406"/>
                    <a:pt x="222" y="364"/>
                    <a:pt x="222" y="313"/>
                  </a:cubicBezTo>
                  <a:cubicBezTo>
                    <a:pt x="222" y="301"/>
                    <a:pt x="220" y="289"/>
                    <a:pt x="216" y="278"/>
                  </a:cubicBezTo>
                  <a:cubicBezTo>
                    <a:pt x="388" y="164"/>
                    <a:pt x="388" y="164"/>
                    <a:pt x="388" y="164"/>
                  </a:cubicBezTo>
                  <a:cubicBezTo>
                    <a:pt x="406" y="183"/>
                    <a:pt x="432" y="196"/>
                    <a:pt x="461" y="19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08" name="Freeform 26"/>
            <p:cNvSpPr>
              <a:spLocks/>
            </p:cNvSpPr>
            <p:nvPr/>
          </p:nvSpPr>
          <p:spPr bwMode="auto">
            <a:xfrm>
              <a:off x="3317042" y="-353846"/>
              <a:ext cx="1381125" cy="1541463"/>
            </a:xfrm>
            <a:custGeom>
              <a:avLst/>
              <a:gdLst>
                <a:gd name="T0" fmla="*/ 844 w 870"/>
                <a:gd name="T1" fmla="*/ 720 h 971"/>
                <a:gd name="T2" fmla="*/ 870 w 870"/>
                <a:gd name="T3" fmla="*/ 268 h 971"/>
                <a:gd name="T4" fmla="*/ 406 w 870"/>
                <a:gd name="T5" fmla="*/ 0 h 971"/>
                <a:gd name="T6" fmla="*/ 26 w 870"/>
                <a:gd name="T7" fmla="*/ 249 h 971"/>
                <a:gd name="T8" fmla="*/ 0 w 870"/>
                <a:gd name="T9" fmla="*/ 704 h 971"/>
                <a:gd name="T10" fmla="*/ 465 w 870"/>
                <a:gd name="T11" fmla="*/ 971 h 971"/>
                <a:gd name="T12" fmla="*/ 844 w 870"/>
                <a:gd name="T13" fmla="*/ 720 h 971"/>
              </a:gdLst>
              <a:ahLst/>
              <a:cxnLst>
                <a:cxn ang="0">
                  <a:pos x="T0" y="T1"/>
                </a:cxn>
                <a:cxn ang="0">
                  <a:pos x="T2" y="T3"/>
                </a:cxn>
                <a:cxn ang="0">
                  <a:pos x="T4" y="T5"/>
                </a:cxn>
                <a:cxn ang="0">
                  <a:pos x="T6" y="T7"/>
                </a:cxn>
                <a:cxn ang="0">
                  <a:pos x="T8" y="T9"/>
                </a:cxn>
                <a:cxn ang="0">
                  <a:pos x="T10" y="T11"/>
                </a:cxn>
                <a:cxn ang="0">
                  <a:pos x="T12" y="T13"/>
                </a:cxn>
              </a:cxnLst>
              <a:rect l="0" t="0" r="r" b="b"/>
              <a:pathLst>
                <a:path w="870" h="971">
                  <a:moveTo>
                    <a:pt x="844" y="720"/>
                  </a:moveTo>
                  <a:lnTo>
                    <a:pt x="870" y="268"/>
                  </a:lnTo>
                  <a:lnTo>
                    <a:pt x="406" y="0"/>
                  </a:lnTo>
                  <a:lnTo>
                    <a:pt x="26" y="249"/>
                  </a:lnTo>
                  <a:lnTo>
                    <a:pt x="0" y="704"/>
                  </a:lnTo>
                  <a:lnTo>
                    <a:pt x="465" y="971"/>
                  </a:lnTo>
                  <a:lnTo>
                    <a:pt x="844" y="72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09" name="Freeform 108"/>
          <p:cNvSpPr/>
          <p:nvPr userDrawn="1"/>
        </p:nvSpPr>
        <p:spPr bwMode="auto">
          <a:xfrm>
            <a:off x="949161" y="1935812"/>
            <a:ext cx="474024" cy="512967"/>
          </a:xfrm>
          <a:custGeom>
            <a:avLst/>
            <a:gdLst>
              <a:gd name="connsiteX0" fmla="*/ 301040 w 2755232"/>
              <a:gd name="connsiteY0" fmla="*/ 1098648 h 2982001"/>
              <a:gd name="connsiteX1" fmla="*/ 301040 w 2755232"/>
              <a:gd name="connsiteY1" fmla="*/ 2313272 h 2982001"/>
              <a:gd name="connsiteX2" fmla="*/ 657942 w 2755232"/>
              <a:gd name="connsiteY2" fmla="*/ 2670174 h 2982001"/>
              <a:gd name="connsiteX3" fmla="*/ 2085508 w 2755232"/>
              <a:gd name="connsiteY3" fmla="*/ 2670174 h 2982001"/>
              <a:gd name="connsiteX4" fmla="*/ 2442410 w 2755232"/>
              <a:gd name="connsiteY4" fmla="*/ 2313272 h 2982001"/>
              <a:gd name="connsiteX5" fmla="*/ 2442410 w 2755232"/>
              <a:gd name="connsiteY5" fmla="*/ 1098648 h 2982001"/>
              <a:gd name="connsiteX6" fmla="*/ 657942 w 2755232"/>
              <a:gd name="connsiteY6" fmla="*/ 312869 h 2982001"/>
              <a:gd name="connsiteX7" fmla="*/ 301040 w 2755232"/>
              <a:gd name="connsiteY7" fmla="*/ 669771 h 2982001"/>
              <a:gd name="connsiteX8" fmla="*/ 301040 w 2755232"/>
              <a:gd name="connsiteY8" fmla="*/ 735012 h 2982001"/>
              <a:gd name="connsiteX9" fmla="*/ 2442410 w 2755232"/>
              <a:gd name="connsiteY9" fmla="*/ 735012 h 2982001"/>
              <a:gd name="connsiteX10" fmla="*/ 2442410 w 2755232"/>
              <a:gd name="connsiteY10" fmla="*/ 669771 h 2982001"/>
              <a:gd name="connsiteX11" fmla="*/ 2085508 w 2755232"/>
              <a:gd name="connsiteY11" fmla="*/ 312869 h 2982001"/>
              <a:gd name="connsiteX12" fmla="*/ 459215 w 2755232"/>
              <a:gd name="connsiteY12" fmla="*/ 0 h 2982001"/>
              <a:gd name="connsiteX13" fmla="*/ 2296017 w 2755232"/>
              <a:gd name="connsiteY13" fmla="*/ 0 h 2982001"/>
              <a:gd name="connsiteX14" fmla="*/ 2755232 w 2755232"/>
              <a:gd name="connsiteY14" fmla="*/ 459215 h 2982001"/>
              <a:gd name="connsiteX15" fmla="*/ 2755232 w 2755232"/>
              <a:gd name="connsiteY15" fmla="*/ 2522786 h 2982001"/>
              <a:gd name="connsiteX16" fmla="*/ 2296017 w 2755232"/>
              <a:gd name="connsiteY16" fmla="*/ 2982001 h 2982001"/>
              <a:gd name="connsiteX17" fmla="*/ 459215 w 2755232"/>
              <a:gd name="connsiteY17" fmla="*/ 2982001 h 2982001"/>
              <a:gd name="connsiteX18" fmla="*/ 0 w 2755232"/>
              <a:gd name="connsiteY18" fmla="*/ 2522786 h 2982001"/>
              <a:gd name="connsiteX19" fmla="*/ 0 w 2755232"/>
              <a:gd name="connsiteY19" fmla="*/ 459215 h 2982001"/>
              <a:gd name="connsiteX20" fmla="*/ 459215 w 2755232"/>
              <a:gd name="connsiteY20" fmla="*/ 0 h 298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5232" h="2982001">
                <a:moveTo>
                  <a:pt x="301040" y="1098648"/>
                </a:moveTo>
                <a:lnTo>
                  <a:pt x="301040" y="2313272"/>
                </a:lnTo>
                <a:cubicBezTo>
                  <a:pt x="301040" y="2510384"/>
                  <a:pt x="460830" y="2670174"/>
                  <a:pt x="657942" y="2670174"/>
                </a:cubicBezTo>
                <a:lnTo>
                  <a:pt x="2085508" y="2670174"/>
                </a:lnTo>
                <a:cubicBezTo>
                  <a:pt x="2282620" y="2670174"/>
                  <a:pt x="2442410" y="2510384"/>
                  <a:pt x="2442410" y="2313272"/>
                </a:cubicBezTo>
                <a:lnTo>
                  <a:pt x="2442410" y="1098648"/>
                </a:lnTo>
                <a:close/>
                <a:moveTo>
                  <a:pt x="657942" y="312869"/>
                </a:moveTo>
                <a:cubicBezTo>
                  <a:pt x="460830" y="312869"/>
                  <a:pt x="301040" y="472659"/>
                  <a:pt x="301040" y="669771"/>
                </a:cubicBezTo>
                <a:lnTo>
                  <a:pt x="301040" y="735012"/>
                </a:lnTo>
                <a:lnTo>
                  <a:pt x="2442410" y="735012"/>
                </a:lnTo>
                <a:lnTo>
                  <a:pt x="2442410" y="669771"/>
                </a:lnTo>
                <a:cubicBezTo>
                  <a:pt x="2442410" y="472659"/>
                  <a:pt x="2282620" y="312869"/>
                  <a:pt x="2085508" y="312869"/>
                </a:cubicBezTo>
                <a:close/>
                <a:moveTo>
                  <a:pt x="459215" y="0"/>
                </a:moveTo>
                <a:lnTo>
                  <a:pt x="2296017" y="0"/>
                </a:lnTo>
                <a:cubicBezTo>
                  <a:pt x="2549634" y="0"/>
                  <a:pt x="2755232" y="205598"/>
                  <a:pt x="2755232" y="459215"/>
                </a:cubicBezTo>
                <a:lnTo>
                  <a:pt x="2755232" y="2522786"/>
                </a:lnTo>
                <a:cubicBezTo>
                  <a:pt x="2755232" y="2776403"/>
                  <a:pt x="2549634" y="2982001"/>
                  <a:pt x="2296017" y="2982001"/>
                </a:cubicBezTo>
                <a:lnTo>
                  <a:pt x="459215" y="2982001"/>
                </a:lnTo>
                <a:cubicBezTo>
                  <a:pt x="205598" y="2982001"/>
                  <a:pt x="0" y="2776403"/>
                  <a:pt x="0" y="2522786"/>
                </a:cubicBezTo>
                <a:lnTo>
                  <a:pt x="0" y="459215"/>
                </a:lnTo>
                <a:cubicBezTo>
                  <a:pt x="0" y="205598"/>
                  <a:pt x="205598" y="0"/>
                  <a:pt x="459215"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10" name="Group 109"/>
          <p:cNvGrpSpPr/>
          <p:nvPr userDrawn="1"/>
        </p:nvGrpSpPr>
        <p:grpSpPr>
          <a:xfrm>
            <a:off x="6696101" y="-862699"/>
            <a:ext cx="1843557" cy="1378026"/>
            <a:chOff x="4008508" y="7417591"/>
            <a:chExt cx="6251575" cy="4673602"/>
          </a:xfrm>
          <a:solidFill>
            <a:schemeClr val="bg1">
              <a:lumMod val="85000"/>
            </a:schemeClr>
          </a:solidFill>
        </p:grpSpPr>
        <p:sp>
          <p:nvSpPr>
            <p:cNvPr id="111" name="Freeform 9"/>
            <p:cNvSpPr>
              <a:spLocks noEditPoints="1"/>
            </p:cNvSpPr>
            <p:nvPr/>
          </p:nvSpPr>
          <p:spPr bwMode="auto">
            <a:xfrm>
              <a:off x="4008508" y="7417591"/>
              <a:ext cx="6251575" cy="4673602"/>
            </a:xfrm>
            <a:custGeom>
              <a:avLst/>
              <a:gdLst>
                <a:gd name="T0" fmla="*/ 1479 w 1664"/>
                <a:gd name="T1" fmla="*/ 0 h 1244"/>
                <a:gd name="T2" fmla="*/ 186 w 1664"/>
                <a:gd name="T3" fmla="*/ 0 h 1244"/>
                <a:gd name="T4" fmla="*/ 0 w 1664"/>
                <a:gd name="T5" fmla="*/ 186 h 1244"/>
                <a:gd name="T6" fmla="*/ 0 w 1664"/>
                <a:gd name="T7" fmla="*/ 767 h 1244"/>
                <a:gd name="T8" fmla="*/ 186 w 1664"/>
                <a:gd name="T9" fmla="*/ 952 h 1244"/>
                <a:gd name="T10" fmla="*/ 302 w 1664"/>
                <a:gd name="T11" fmla="*/ 952 h 1244"/>
                <a:gd name="T12" fmla="*/ 459 w 1664"/>
                <a:gd name="T13" fmla="*/ 1224 h 1244"/>
                <a:gd name="T14" fmla="*/ 494 w 1664"/>
                <a:gd name="T15" fmla="*/ 1244 h 1244"/>
                <a:gd name="T16" fmla="*/ 529 w 1664"/>
                <a:gd name="T17" fmla="*/ 1224 h 1244"/>
                <a:gd name="T18" fmla="*/ 686 w 1664"/>
                <a:gd name="T19" fmla="*/ 952 h 1244"/>
                <a:gd name="T20" fmla="*/ 1479 w 1664"/>
                <a:gd name="T21" fmla="*/ 952 h 1244"/>
                <a:gd name="T22" fmla="*/ 1664 w 1664"/>
                <a:gd name="T23" fmla="*/ 767 h 1244"/>
                <a:gd name="T24" fmla="*/ 1664 w 1664"/>
                <a:gd name="T25" fmla="*/ 186 h 1244"/>
                <a:gd name="T26" fmla="*/ 1479 w 1664"/>
                <a:gd name="T27" fmla="*/ 0 h 1244"/>
                <a:gd name="T28" fmla="*/ 1584 w 1664"/>
                <a:gd name="T29" fmla="*/ 767 h 1244"/>
                <a:gd name="T30" fmla="*/ 1479 w 1664"/>
                <a:gd name="T31" fmla="*/ 872 h 1244"/>
                <a:gd name="T32" fmla="*/ 663 w 1664"/>
                <a:gd name="T33" fmla="*/ 872 h 1244"/>
                <a:gd name="T34" fmla="*/ 628 w 1664"/>
                <a:gd name="T35" fmla="*/ 892 h 1244"/>
                <a:gd name="T36" fmla="*/ 494 w 1664"/>
                <a:gd name="T37" fmla="*/ 1124 h 1244"/>
                <a:gd name="T38" fmla="*/ 359 w 1664"/>
                <a:gd name="T39" fmla="*/ 892 h 1244"/>
                <a:gd name="T40" fmla="*/ 325 w 1664"/>
                <a:gd name="T41" fmla="*/ 872 h 1244"/>
                <a:gd name="T42" fmla="*/ 186 w 1664"/>
                <a:gd name="T43" fmla="*/ 872 h 1244"/>
                <a:gd name="T44" fmla="*/ 80 w 1664"/>
                <a:gd name="T45" fmla="*/ 767 h 1244"/>
                <a:gd name="T46" fmla="*/ 80 w 1664"/>
                <a:gd name="T47" fmla="*/ 186 h 1244"/>
                <a:gd name="T48" fmla="*/ 186 w 1664"/>
                <a:gd name="T49" fmla="*/ 80 h 1244"/>
                <a:gd name="T50" fmla="*/ 1479 w 1664"/>
                <a:gd name="T51" fmla="*/ 80 h 1244"/>
                <a:gd name="T52" fmla="*/ 1584 w 1664"/>
                <a:gd name="T53" fmla="*/ 186 h 1244"/>
                <a:gd name="T54" fmla="*/ 1584 w 1664"/>
                <a:gd name="T55" fmla="*/ 767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64" h="1244">
                  <a:moveTo>
                    <a:pt x="1479" y="0"/>
                  </a:moveTo>
                  <a:cubicBezTo>
                    <a:pt x="186" y="0"/>
                    <a:pt x="186" y="0"/>
                    <a:pt x="186" y="0"/>
                  </a:cubicBezTo>
                  <a:cubicBezTo>
                    <a:pt x="83" y="0"/>
                    <a:pt x="0" y="83"/>
                    <a:pt x="0" y="186"/>
                  </a:cubicBezTo>
                  <a:cubicBezTo>
                    <a:pt x="0" y="767"/>
                    <a:pt x="0" y="767"/>
                    <a:pt x="0" y="767"/>
                  </a:cubicBezTo>
                  <a:cubicBezTo>
                    <a:pt x="0" y="869"/>
                    <a:pt x="83" y="952"/>
                    <a:pt x="186" y="952"/>
                  </a:cubicBezTo>
                  <a:cubicBezTo>
                    <a:pt x="302" y="952"/>
                    <a:pt x="302" y="952"/>
                    <a:pt x="302" y="952"/>
                  </a:cubicBezTo>
                  <a:cubicBezTo>
                    <a:pt x="459" y="1224"/>
                    <a:pt x="459" y="1224"/>
                    <a:pt x="459" y="1224"/>
                  </a:cubicBezTo>
                  <a:cubicBezTo>
                    <a:pt x="466" y="1236"/>
                    <a:pt x="480" y="1244"/>
                    <a:pt x="494" y="1244"/>
                  </a:cubicBezTo>
                  <a:cubicBezTo>
                    <a:pt x="508" y="1244"/>
                    <a:pt x="521" y="1236"/>
                    <a:pt x="529" y="1224"/>
                  </a:cubicBezTo>
                  <a:cubicBezTo>
                    <a:pt x="686" y="952"/>
                    <a:pt x="686" y="952"/>
                    <a:pt x="686" y="952"/>
                  </a:cubicBezTo>
                  <a:cubicBezTo>
                    <a:pt x="1479" y="952"/>
                    <a:pt x="1479" y="952"/>
                    <a:pt x="1479" y="952"/>
                  </a:cubicBezTo>
                  <a:cubicBezTo>
                    <a:pt x="1581" y="952"/>
                    <a:pt x="1664" y="869"/>
                    <a:pt x="1664" y="767"/>
                  </a:cubicBezTo>
                  <a:cubicBezTo>
                    <a:pt x="1664" y="186"/>
                    <a:pt x="1664" y="186"/>
                    <a:pt x="1664" y="186"/>
                  </a:cubicBezTo>
                  <a:cubicBezTo>
                    <a:pt x="1664" y="83"/>
                    <a:pt x="1581" y="0"/>
                    <a:pt x="1479" y="0"/>
                  </a:cubicBezTo>
                  <a:close/>
                  <a:moveTo>
                    <a:pt x="1584" y="767"/>
                  </a:moveTo>
                  <a:cubicBezTo>
                    <a:pt x="1584" y="825"/>
                    <a:pt x="1537" y="872"/>
                    <a:pt x="1479" y="872"/>
                  </a:cubicBezTo>
                  <a:cubicBezTo>
                    <a:pt x="663" y="872"/>
                    <a:pt x="663" y="872"/>
                    <a:pt x="663" y="872"/>
                  </a:cubicBezTo>
                  <a:cubicBezTo>
                    <a:pt x="649" y="872"/>
                    <a:pt x="636" y="879"/>
                    <a:pt x="628" y="892"/>
                  </a:cubicBezTo>
                  <a:cubicBezTo>
                    <a:pt x="494" y="1124"/>
                    <a:pt x="494" y="1124"/>
                    <a:pt x="494" y="1124"/>
                  </a:cubicBezTo>
                  <a:cubicBezTo>
                    <a:pt x="359" y="892"/>
                    <a:pt x="359" y="892"/>
                    <a:pt x="359" y="892"/>
                  </a:cubicBezTo>
                  <a:cubicBezTo>
                    <a:pt x="352" y="879"/>
                    <a:pt x="339" y="872"/>
                    <a:pt x="325" y="872"/>
                  </a:cubicBezTo>
                  <a:cubicBezTo>
                    <a:pt x="186" y="872"/>
                    <a:pt x="186" y="872"/>
                    <a:pt x="186" y="872"/>
                  </a:cubicBezTo>
                  <a:cubicBezTo>
                    <a:pt x="128" y="872"/>
                    <a:pt x="80" y="825"/>
                    <a:pt x="80" y="767"/>
                  </a:cubicBezTo>
                  <a:cubicBezTo>
                    <a:pt x="80" y="186"/>
                    <a:pt x="80" y="186"/>
                    <a:pt x="80" y="186"/>
                  </a:cubicBezTo>
                  <a:cubicBezTo>
                    <a:pt x="80" y="128"/>
                    <a:pt x="128" y="80"/>
                    <a:pt x="186" y="80"/>
                  </a:cubicBezTo>
                  <a:cubicBezTo>
                    <a:pt x="1479" y="80"/>
                    <a:pt x="1479" y="80"/>
                    <a:pt x="1479" y="80"/>
                  </a:cubicBezTo>
                  <a:cubicBezTo>
                    <a:pt x="1537" y="80"/>
                    <a:pt x="1584" y="128"/>
                    <a:pt x="1584" y="186"/>
                  </a:cubicBezTo>
                  <a:lnTo>
                    <a:pt x="1584" y="76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2" name="Freeform 10"/>
            <p:cNvSpPr>
              <a:spLocks noEditPoints="1"/>
            </p:cNvSpPr>
            <p:nvPr/>
          </p:nvSpPr>
          <p:spPr bwMode="auto">
            <a:xfrm>
              <a:off x="4659383" y="8484391"/>
              <a:ext cx="1419225" cy="1420813"/>
            </a:xfrm>
            <a:custGeom>
              <a:avLst/>
              <a:gdLst>
                <a:gd name="T0" fmla="*/ 189 w 378"/>
                <a:gd name="T1" fmla="*/ 0 h 378"/>
                <a:gd name="T2" fmla="*/ 0 w 378"/>
                <a:gd name="T3" fmla="*/ 189 h 378"/>
                <a:gd name="T4" fmla="*/ 189 w 378"/>
                <a:gd name="T5" fmla="*/ 378 h 378"/>
                <a:gd name="T6" fmla="*/ 378 w 378"/>
                <a:gd name="T7" fmla="*/ 189 h 378"/>
                <a:gd name="T8" fmla="*/ 189 w 378"/>
                <a:gd name="T9" fmla="*/ 0 h 378"/>
                <a:gd name="T10" fmla="*/ 189 w 378"/>
                <a:gd name="T11" fmla="*/ 298 h 378"/>
                <a:gd name="T12" fmla="*/ 80 w 378"/>
                <a:gd name="T13" fmla="*/ 189 h 378"/>
                <a:gd name="T14" fmla="*/ 189 w 378"/>
                <a:gd name="T15" fmla="*/ 80 h 378"/>
                <a:gd name="T16" fmla="*/ 298 w 378"/>
                <a:gd name="T17" fmla="*/ 189 h 378"/>
                <a:gd name="T18" fmla="*/ 189 w 378"/>
                <a:gd name="T19" fmla="*/ 29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8" h="378">
                  <a:moveTo>
                    <a:pt x="189" y="0"/>
                  </a:moveTo>
                  <a:cubicBezTo>
                    <a:pt x="85" y="0"/>
                    <a:pt x="0" y="85"/>
                    <a:pt x="0" y="189"/>
                  </a:cubicBezTo>
                  <a:cubicBezTo>
                    <a:pt x="0" y="293"/>
                    <a:pt x="85" y="378"/>
                    <a:pt x="189" y="378"/>
                  </a:cubicBezTo>
                  <a:cubicBezTo>
                    <a:pt x="293" y="378"/>
                    <a:pt x="378" y="293"/>
                    <a:pt x="378" y="189"/>
                  </a:cubicBezTo>
                  <a:cubicBezTo>
                    <a:pt x="378" y="85"/>
                    <a:pt x="293" y="0"/>
                    <a:pt x="189" y="0"/>
                  </a:cubicBezTo>
                  <a:close/>
                  <a:moveTo>
                    <a:pt x="189" y="298"/>
                  </a:moveTo>
                  <a:cubicBezTo>
                    <a:pt x="129" y="298"/>
                    <a:pt x="80" y="249"/>
                    <a:pt x="80" y="189"/>
                  </a:cubicBezTo>
                  <a:cubicBezTo>
                    <a:pt x="80" y="129"/>
                    <a:pt x="129" y="80"/>
                    <a:pt x="189" y="80"/>
                  </a:cubicBezTo>
                  <a:cubicBezTo>
                    <a:pt x="249" y="80"/>
                    <a:pt x="298" y="129"/>
                    <a:pt x="298" y="189"/>
                  </a:cubicBezTo>
                  <a:cubicBezTo>
                    <a:pt x="298" y="249"/>
                    <a:pt x="249" y="298"/>
                    <a:pt x="189" y="29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3" name="Freeform 11"/>
            <p:cNvSpPr>
              <a:spLocks noEditPoints="1"/>
            </p:cNvSpPr>
            <p:nvPr/>
          </p:nvSpPr>
          <p:spPr bwMode="auto">
            <a:xfrm>
              <a:off x="6424683" y="8484391"/>
              <a:ext cx="1419225" cy="1420813"/>
            </a:xfrm>
            <a:custGeom>
              <a:avLst/>
              <a:gdLst>
                <a:gd name="T0" fmla="*/ 189 w 378"/>
                <a:gd name="T1" fmla="*/ 0 h 378"/>
                <a:gd name="T2" fmla="*/ 0 w 378"/>
                <a:gd name="T3" fmla="*/ 189 h 378"/>
                <a:gd name="T4" fmla="*/ 189 w 378"/>
                <a:gd name="T5" fmla="*/ 378 h 378"/>
                <a:gd name="T6" fmla="*/ 378 w 378"/>
                <a:gd name="T7" fmla="*/ 189 h 378"/>
                <a:gd name="T8" fmla="*/ 189 w 378"/>
                <a:gd name="T9" fmla="*/ 0 h 378"/>
                <a:gd name="T10" fmla="*/ 189 w 378"/>
                <a:gd name="T11" fmla="*/ 298 h 378"/>
                <a:gd name="T12" fmla="*/ 81 w 378"/>
                <a:gd name="T13" fmla="*/ 189 h 378"/>
                <a:gd name="T14" fmla="*/ 189 w 378"/>
                <a:gd name="T15" fmla="*/ 80 h 378"/>
                <a:gd name="T16" fmla="*/ 298 w 378"/>
                <a:gd name="T17" fmla="*/ 189 h 378"/>
                <a:gd name="T18" fmla="*/ 189 w 378"/>
                <a:gd name="T19" fmla="*/ 29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8" h="378">
                  <a:moveTo>
                    <a:pt x="189" y="0"/>
                  </a:moveTo>
                  <a:cubicBezTo>
                    <a:pt x="85" y="0"/>
                    <a:pt x="0" y="85"/>
                    <a:pt x="0" y="189"/>
                  </a:cubicBezTo>
                  <a:cubicBezTo>
                    <a:pt x="0" y="293"/>
                    <a:pt x="85" y="378"/>
                    <a:pt x="189" y="378"/>
                  </a:cubicBezTo>
                  <a:cubicBezTo>
                    <a:pt x="294" y="378"/>
                    <a:pt x="378" y="293"/>
                    <a:pt x="378" y="189"/>
                  </a:cubicBezTo>
                  <a:cubicBezTo>
                    <a:pt x="378" y="85"/>
                    <a:pt x="294" y="0"/>
                    <a:pt x="189" y="0"/>
                  </a:cubicBezTo>
                  <a:close/>
                  <a:moveTo>
                    <a:pt x="189" y="298"/>
                  </a:moveTo>
                  <a:cubicBezTo>
                    <a:pt x="129" y="298"/>
                    <a:pt x="81" y="249"/>
                    <a:pt x="81" y="189"/>
                  </a:cubicBezTo>
                  <a:cubicBezTo>
                    <a:pt x="81" y="129"/>
                    <a:pt x="129" y="80"/>
                    <a:pt x="189" y="80"/>
                  </a:cubicBezTo>
                  <a:cubicBezTo>
                    <a:pt x="249" y="80"/>
                    <a:pt x="298" y="129"/>
                    <a:pt x="298" y="189"/>
                  </a:cubicBezTo>
                  <a:cubicBezTo>
                    <a:pt x="298" y="249"/>
                    <a:pt x="249" y="298"/>
                    <a:pt x="189" y="29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14" name="Oval 12"/>
            <p:cNvSpPr>
              <a:spLocks noChangeArrowheads="1"/>
            </p:cNvSpPr>
            <p:nvPr/>
          </p:nvSpPr>
          <p:spPr bwMode="auto">
            <a:xfrm>
              <a:off x="8193158" y="8484391"/>
              <a:ext cx="1416050" cy="142081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15" name="Group 114"/>
          <p:cNvGrpSpPr/>
          <p:nvPr userDrawn="1"/>
        </p:nvGrpSpPr>
        <p:grpSpPr>
          <a:xfrm>
            <a:off x="3326465" y="4703250"/>
            <a:ext cx="763710" cy="663254"/>
            <a:chOff x="2731168" y="1660358"/>
            <a:chExt cx="3352162" cy="2911643"/>
          </a:xfrm>
          <a:solidFill>
            <a:schemeClr val="bg1">
              <a:lumMod val="85000"/>
            </a:schemeClr>
          </a:solidFill>
        </p:grpSpPr>
        <p:sp>
          <p:nvSpPr>
            <p:cNvPr id="116" name="Down Arrow 115"/>
            <p:cNvSpPr/>
            <p:nvPr/>
          </p:nvSpPr>
          <p:spPr bwMode="auto">
            <a:xfrm rot="10800000">
              <a:off x="2731168" y="2358189"/>
              <a:ext cx="1096561" cy="2213811"/>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Down Arrow 116"/>
            <p:cNvSpPr/>
            <p:nvPr/>
          </p:nvSpPr>
          <p:spPr bwMode="auto">
            <a:xfrm rot="10800000">
              <a:off x="3858969" y="1997242"/>
              <a:ext cx="1096561" cy="2574758"/>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8" name="Down Arrow 117"/>
            <p:cNvSpPr/>
            <p:nvPr/>
          </p:nvSpPr>
          <p:spPr bwMode="auto">
            <a:xfrm rot="10800000">
              <a:off x="4986769" y="1660358"/>
              <a:ext cx="1096561" cy="2911643"/>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19" name="Group 118"/>
          <p:cNvGrpSpPr/>
          <p:nvPr userDrawn="1"/>
        </p:nvGrpSpPr>
        <p:grpSpPr>
          <a:xfrm>
            <a:off x="4957365" y="124027"/>
            <a:ext cx="999212" cy="904889"/>
            <a:chOff x="5991726" y="4755347"/>
            <a:chExt cx="4543929" cy="4115579"/>
          </a:xfrm>
          <a:solidFill>
            <a:schemeClr val="bg1">
              <a:lumMod val="85000"/>
            </a:schemeClr>
          </a:solidFill>
        </p:grpSpPr>
        <p:sp>
          <p:nvSpPr>
            <p:cNvPr id="120" name="Freeform 119"/>
            <p:cNvSpPr/>
            <p:nvPr/>
          </p:nvSpPr>
          <p:spPr bwMode="auto">
            <a:xfrm>
              <a:off x="5991726" y="7222960"/>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1" name="Freeform 120"/>
            <p:cNvSpPr/>
            <p:nvPr/>
          </p:nvSpPr>
          <p:spPr bwMode="auto">
            <a:xfrm>
              <a:off x="5991726" y="5727394"/>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2" name="Oval 121"/>
            <p:cNvSpPr/>
            <p:nvPr/>
          </p:nvSpPr>
          <p:spPr bwMode="auto">
            <a:xfrm>
              <a:off x="5991726" y="4755347"/>
              <a:ext cx="2029968" cy="11316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Freeform 122"/>
            <p:cNvSpPr/>
            <p:nvPr/>
          </p:nvSpPr>
          <p:spPr bwMode="auto">
            <a:xfrm>
              <a:off x="8502317" y="7222960"/>
              <a:ext cx="2033338" cy="1647966"/>
            </a:xfrm>
            <a:custGeom>
              <a:avLst/>
              <a:gdLst>
                <a:gd name="connsiteX0" fmla="*/ 0 w 2033338"/>
                <a:gd name="connsiteY0" fmla="*/ 0 h 1647966"/>
                <a:gd name="connsiteX1" fmla="*/ 27492 w 2033338"/>
                <a:gd name="connsiteY1" fmla="*/ 28703 h 1647966"/>
                <a:gd name="connsiteX2" fmla="*/ 1016669 w 2033338"/>
                <a:gd name="connsiteY2" fmla="*/ 324811 h 1647966"/>
                <a:gd name="connsiteX3" fmla="*/ 2005846 w 2033338"/>
                <a:gd name="connsiteY3" fmla="*/ 28703 h 1647966"/>
                <a:gd name="connsiteX4" fmla="*/ 2033337 w 2033338"/>
                <a:gd name="connsiteY4" fmla="*/ 1 h 1647966"/>
                <a:gd name="connsiteX5" fmla="*/ 2033337 w 2033338"/>
                <a:gd name="connsiteY5" fmla="*/ 1136613 h 1647966"/>
                <a:gd name="connsiteX6" fmla="*/ 2033338 w 2033338"/>
                <a:gd name="connsiteY6" fmla="*/ 1136623 h 1647966"/>
                <a:gd name="connsiteX7" fmla="*/ 1016669 w 2033338"/>
                <a:gd name="connsiteY7" fmla="*/ 1647966 h 1647966"/>
                <a:gd name="connsiteX8" fmla="*/ 0 w 2033338"/>
                <a:gd name="connsiteY8" fmla="*/ 1136623 h 1647966"/>
                <a:gd name="connsiteX9" fmla="*/ 0 w 2033338"/>
                <a:gd name="connsiteY9" fmla="*/ 1136622 h 1647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3338" h="1647966">
                  <a:moveTo>
                    <a:pt x="0" y="0"/>
                  </a:moveTo>
                  <a:lnTo>
                    <a:pt x="27492" y="28703"/>
                  </a:lnTo>
                  <a:cubicBezTo>
                    <a:pt x="217991" y="205078"/>
                    <a:pt x="589530" y="324811"/>
                    <a:pt x="1016669" y="324811"/>
                  </a:cubicBezTo>
                  <a:cubicBezTo>
                    <a:pt x="1443809" y="324811"/>
                    <a:pt x="1815348" y="205078"/>
                    <a:pt x="2005846" y="28703"/>
                  </a:cubicBezTo>
                  <a:lnTo>
                    <a:pt x="2033337" y="1"/>
                  </a:lnTo>
                  <a:lnTo>
                    <a:pt x="2033337" y="1136613"/>
                  </a:lnTo>
                  <a:lnTo>
                    <a:pt x="2033338" y="1136623"/>
                  </a:lnTo>
                  <a:cubicBezTo>
                    <a:pt x="2033338" y="1419030"/>
                    <a:pt x="1578160" y="1647966"/>
                    <a:pt x="1016669" y="1647966"/>
                  </a:cubicBezTo>
                  <a:cubicBezTo>
                    <a:pt x="455178" y="1647966"/>
                    <a:pt x="0" y="1419030"/>
                    <a:pt x="0" y="1136623"/>
                  </a:cubicBezTo>
                  <a:lnTo>
                    <a:pt x="0" y="113662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4" name="Oval 123"/>
            <p:cNvSpPr/>
            <p:nvPr/>
          </p:nvSpPr>
          <p:spPr bwMode="auto">
            <a:xfrm>
              <a:off x="8502317" y="6250913"/>
              <a:ext cx="2029968" cy="113160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25" name="Freeform 19"/>
          <p:cNvSpPr>
            <a:spLocks noEditPoints="1"/>
          </p:cNvSpPr>
          <p:nvPr userDrawn="1"/>
        </p:nvSpPr>
        <p:spPr bwMode="auto">
          <a:xfrm>
            <a:off x="11529614" y="5910049"/>
            <a:ext cx="1242917" cy="838544"/>
          </a:xfrm>
          <a:custGeom>
            <a:avLst/>
            <a:gdLst>
              <a:gd name="T0" fmla="*/ 1097 w 1114"/>
              <a:gd name="T1" fmla="*/ 4 h 750"/>
              <a:gd name="T2" fmla="*/ 1066 w 1114"/>
              <a:gd name="T3" fmla="*/ 10 h 750"/>
              <a:gd name="T4" fmla="*/ 1066 w 1114"/>
              <a:gd name="T5" fmla="*/ 11 h 750"/>
              <a:gd name="T6" fmla="*/ 557 w 1114"/>
              <a:gd name="T7" fmla="*/ 171 h 750"/>
              <a:gd name="T8" fmla="*/ 48 w 1114"/>
              <a:gd name="T9" fmla="*/ 11 h 750"/>
              <a:gd name="T10" fmla="*/ 48 w 1114"/>
              <a:gd name="T11" fmla="*/ 10 h 750"/>
              <a:gd name="T12" fmla="*/ 18 w 1114"/>
              <a:gd name="T13" fmla="*/ 4 h 750"/>
              <a:gd name="T14" fmla="*/ 0 w 1114"/>
              <a:gd name="T15" fmla="*/ 30 h 750"/>
              <a:gd name="T16" fmla="*/ 0 w 1114"/>
              <a:gd name="T17" fmla="*/ 720 h 750"/>
              <a:gd name="T18" fmla="*/ 18 w 1114"/>
              <a:gd name="T19" fmla="*/ 746 h 750"/>
              <a:gd name="T20" fmla="*/ 48 w 1114"/>
              <a:gd name="T21" fmla="*/ 740 h 750"/>
              <a:gd name="T22" fmla="*/ 48 w 1114"/>
              <a:gd name="T23" fmla="*/ 740 h 750"/>
              <a:gd name="T24" fmla="*/ 557 w 1114"/>
              <a:gd name="T25" fmla="*/ 580 h 750"/>
              <a:gd name="T26" fmla="*/ 1066 w 1114"/>
              <a:gd name="T27" fmla="*/ 740 h 750"/>
              <a:gd name="T28" fmla="*/ 1066 w 1114"/>
              <a:gd name="T29" fmla="*/ 740 h 750"/>
              <a:gd name="T30" fmla="*/ 1086 w 1114"/>
              <a:gd name="T31" fmla="*/ 748 h 750"/>
              <a:gd name="T32" fmla="*/ 1097 w 1114"/>
              <a:gd name="T33" fmla="*/ 746 h 750"/>
              <a:gd name="T34" fmla="*/ 1114 w 1114"/>
              <a:gd name="T35" fmla="*/ 720 h 750"/>
              <a:gd name="T36" fmla="*/ 1114 w 1114"/>
              <a:gd name="T37" fmla="*/ 30 h 750"/>
              <a:gd name="T38" fmla="*/ 1097 w 1114"/>
              <a:gd name="T39" fmla="*/ 4 h 750"/>
              <a:gd name="T40" fmla="*/ 529 w 1114"/>
              <a:gd name="T41" fmla="*/ 524 h 750"/>
              <a:gd name="T42" fmla="*/ 301 w 1114"/>
              <a:gd name="T43" fmla="*/ 555 h 750"/>
              <a:gd name="T44" fmla="*/ 301 w 1114"/>
              <a:gd name="T45" fmla="*/ 196 h 750"/>
              <a:gd name="T46" fmla="*/ 529 w 1114"/>
              <a:gd name="T47" fmla="*/ 227 h 750"/>
              <a:gd name="T48" fmla="*/ 529 w 1114"/>
              <a:gd name="T49" fmla="*/ 524 h 750"/>
              <a:gd name="T50" fmla="*/ 585 w 1114"/>
              <a:gd name="T51" fmla="*/ 227 h 750"/>
              <a:gd name="T52" fmla="*/ 813 w 1114"/>
              <a:gd name="T53" fmla="*/ 196 h 750"/>
              <a:gd name="T54" fmla="*/ 813 w 1114"/>
              <a:gd name="T55" fmla="*/ 555 h 750"/>
              <a:gd name="T56" fmla="*/ 585 w 1114"/>
              <a:gd name="T57" fmla="*/ 524 h 750"/>
              <a:gd name="T58" fmla="*/ 585 w 1114"/>
              <a:gd name="T59" fmla="*/ 227 h 750"/>
              <a:gd name="T60" fmla="*/ 57 w 1114"/>
              <a:gd name="T61" fmla="*/ 88 h 750"/>
              <a:gd name="T62" fmla="*/ 245 w 1114"/>
              <a:gd name="T63" fmla="*/ 180 h 750"/>
              <a:gd name="T64" fmla="*/ 245 w 1114"/>
              <a:gd name="T65" fmla="*/ 571 h 750"/>
              <a:gd name="T66" fmla="*/ 57 w 1114"/>
              <a:gd name="T67" fmla="*/ 662 h 750"/>
              <a:gd name="T68" fmla="*/ 57 w 1114"/>
              <a:gd name="T69" fmla="*/ 88 h 750"/>
              <a:gd name="T70" fmla="*/ 1058 w 1114"/>
              <a:gd name="T71" fmla="*/ 662 h 750"/>
              <a:gd name="T72" fmla="*/ 869 w 1114"/>
              <a:gd name="T73" fmla="*/ 571 h 750"/>
              <a:gd name="T74" fmla="*/ 869 w 1114"/>
              <a:gd name="T75" fmla="*/ 180 h 750"/>
              <a:gd name="T76" fmla="*/ 1058 w 1114"/>
              <a:gd name="T77" fmla="*/ 88 h 750"/>
              <a:gd name="T78" fmla="*/ 1058 w 1114"/>
              <a:gd name="T79" fmla="*/ 66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4" h="750">
                <a:moveTo>
                  <a:pt x="1097" y="4"/>
                </a:moveTo>
                <a:cubicBezTo>
                  <a:pt x="1086" y="0"/>
                  <a:pt x="1074" y="2"/>
                  <a:pt x="1066" y="10"/>
                </a:cubicBezTo>
                <a:cubicBezTo>
                  <a:pt x="1066" y="11"/>
                  <a:pt x="1066" y="11"/>
                  <a:pt x="1066" y="11"/>
                </a:cubicBezTo>
                <a:cubicBezTo>
                  <a:pt x="952" y="111"/>
                  <a:pt x="762" y="171"/>
                  <a:pt x="557" y="171"/>
                </a:cubicBezTo>
                <a:cubicBezTo>
                  <a:pt x="352" y="171"/>
                  <a:pt x="162" y="111"/>
                  <a:pt x="48" y="11"/>
                </a:cubicBezTo>
                <a:cubicBezTo>
                  <a:pt x="48" y="10"/>
                  <a:pt x="48" y="10"/>
                  <a:pt x="48" y="10"/>
                </a:cubicBezTo>
                <a:cubicBezTo>
                  <a:pt x="40" y="2"/>
                  <a:pt x="28" y="0"/>
                  <a:pt x="18" y="4"/>
                </a:cubicBezTo>
                <a:cubicBezTo>
                  <a:pt x="7" y="9"/>
                  <a:pt x="0" y="19"/>
                  <a:pt x="0" y="30"/>
                </a:cubicBezTo>
                <a:cubicBezTo>
                  <a:pt x="0" y="720"/>
                  <a:pt x="0" y="720"/>
                  <a:pt x="0" y="720"/>
                </a:cubicBezTo>
                <a:cubicBezTo>
                  <a:pt x="0" y="731"/>
                  <a:pt x="7" y="742"/>
                  <a:pt x="18" y="746"/>
                </a:cubicBezTo>
                <a:cubicBezTo>
                  <a:pt x="28" y="750"/>
                  <a:pt x="40" y="748"/>
                  <a:pt x="48" y="740"/>
                </a:cubicBezTo>
                <a:cubicBezTo>
                  <a:pt x="48" y="740"/>
                  <a:pt x="48" y="740"/>
                  <a:pt x="48" y="740"/>
                </a:cubicBezTo>
                <a:cubicBezTo>
                  <a:pt x="162" y="639"/>
                  <a:pt x="352" y="580"/>
                  <a:pt x="557" y="580"/>
                </a:cubicBezTo>
                <a:cubicBezTo>
                  <a:pt x="762" y="580"/>
                  <a:pt x="952" y="639"/>
                  <a:pt x="1066" y="740"/>
                </a:cubicBezTo>
                <a:cubicBezTo>
                  <a:pt x="1066" y="740"/>
                  <a:pt x="1066" y="740"/>
                  <a:pt x="1066" y="740"/>
                </a:cubicBezTo>
                <a:cubicBezTo>
                  <a:pt x="1072" y="745"/>
                  <a:pt x="1079" y="748"/>
                  <a:pt x="1086" y="748"/>
                </a:cubicBezTo>
                <a:cubicBezTo>
                  <a:pt x="1090" y="748"/>
                  <a:pt x="1093" y="747"/>
                  <a:pt x="1097" y="746"/>
                </a:cubicBezTo>
                <a:cubicBezTo>
                  <a:pt x="1107" y="742"/>
                  <a:pt x="1114" y="731"/>
                  <a:pt x="1114" y="720"/>
                </a:cubicBezTo>
                <a:cubicBezTo>
                  <a:pt x="1114" y="30"/>
                  <a:pt x="1114" y="30"/>
                  <a:pt x="1114" y="30"/>
                </a:cubicBezTo>
                <a:cubicBezTo>
                  <a:pt x="1114" y="19"/>
                  <a:pt x="1107" y="9"/>
                  <a:pt x="1097" y="4"/>
                </a:cubicBezTo>
                <a:close/>
                <a:moveTo>
                  <a:pt x="529" y="524"/>
                </a:moveTo>
                <a:cubicBezTo>
                  <a:pt x="450" y="526"/>
                  <a:pt x="373" y="536"/>
                  <a:pt x="301" y="555"/>
                </a:cubicBezTo>
                <a:cubicBezTo>
                  <a:pt x="301" y="196"/>
                  <a:pt x="301" y="196"/>
                  <a:pt x="301" y="196"/>
                </a:cubicBezTo>
                <a:cubicBezTo>
                  <a:pt x="373" y="214"/>
                  <a:pt x="450" y="225"/>
                  <a:pt x="529" y="227"/>
                </a:cubicBezTo>
                <a:lnTo>
                  <a:pt x="529" y="524"/>
                </a:lnTo>
                <a:close/>
                <a:moveTo>
                  <a:pt x="585" y="227"/>
                </a:moveTo>
                <a:cubicBezTo>
                  <a:pt x="664" y="225"/>
                  <a:pt x="741" y="214"/>
                  <a:pt x="813" y="196"/>
                </a:cubicBezTo>
                <a:cubicBezTo>
                  <a:pt x="813" y="555"/>
                  <a:pt x="813" y="555"/>
                  <a:pt x="813" y="555"/>
                </a:cubicBezTo>
                <a:cubicBezTo>
                  <a:pt x="741" y="536"/>
                  <a:pt x="664" y="526"/>
                  <a:pt x="585" y="524"/>
                </a:cubicBezTo>
                <a:lnTo>
                  <a:pt x="585" y="227"/>
                </a:lnTo>
                <a:close/>
                <a:moveTo>
                  <a:pt x="57" y="88"/>
                </a:moveTo>
                <a:cubicBezTo>
                  <a:pt x="110" y="126"/>
                  <a:pt x="174" y="157"/>
                  <a:pt x="245" y="180"/>
                </a:cubicBezTo>
                <a:cubicBezTo>
                  <a:pt x="245" y="571"/>
                  <a:pt x="245" y="571"/>
                  <a:pt x="245" y="571"/>
                </a:cubicBezTo>
                <a:cubicBezTo>
                  <a:pt x="174" y="594"/>
                  <a:pt x="110" y="625"/>
                  <a:pt x="57" y="662"/>
                </a:cubicBezTo>
                <a:lnTo>
                  <a:pt x="57" y="88"/>
                </a:lnTo>
                <a:close/>
                <a:moveTo>
                  <a:pt x="1058" y="662"/>
                </a:moveTo>
                <a:cubicBezTo>
                  <a:pt x="1004" y="625"/>
                  <a:pt x="940" y="594"/>
                  <a:pt x="869" y="571"/>
                </a:cubicBezTo>
                <a:cubicBezTo>
                  <a:pt x="869" y="180"/>
                  <a:pt x="869" y="180"/>
                  <a:pt x="869" y="180"/>
                </a:cubicBezTo>
                <a:cubicBezTo>
                  <a:pt x="940" y="157"/>
                  <a:pt x="1004" y="126"/>
                  <a:pt x="1058" y="88"/>
                </a:cubicBezTo>
                <a:lnTo>
                  <a:pt x="1058" y="662"/>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6" name="Freeform 27"/>
          <p:cNvSpPr>
            <a:spLocks noEditPoints="1"/>
          </p:cNvSpPr>
          <p:nvPr userDrawn="1"/>
        </p:nvSpPr>
        <p:spPr bwMode="auto">
          <a:xfrm>
            <a:off x="6739815" y="6122830"/>
            <a:ext cx="491169" cy="491100"/>
          </a:xfrm>
          <a:custGeom>
            <a:avLst/>
            <a:gdLst>
              <a:gd name="T0" fmla="*/ 624 w 749"/>
              <a:gd name="T1" fmla="*/ 0 h 749"/>
              <a:gd name="T2" fmla="*/ 125 w 749"/>
              <a:gd name="T3" fmla="*/ 0 h 749"/>
              <a:gd name="T4" fmla="*/ 0 w 749"/>
              <a:gd name="T5" fmla="*/ 124 h 749"/>
              <a:gd name="T6" fmla="*/ 0 w 749"/>
              <a:gd name="T7" fmla="*/ 624 h 749"/>
              <a:gd name="T8" fmla="*/ 125 w 749"/>
              <a:gd name="T9" fmla="*/ 749 h 749"/>
              <a:gd name="T10" fmla="*/ 624 w 749"/>
              <a:gd name="T11" fmla="*/ 749 h 749"/>
              <a:gd name="T12" fmla="*/ 749 w 749"/>
              <a:gd name="T13" fmla="*/ 624 h 749"/>
              <a:gd name="T14" fmla="*/ 749 w 749"/>
              <a:gd name="T15" fmla="*/ 124 h 749"/>
              <a:gd name="T16" fmla="*/ 624 w 749"/>
              <a:gd name="T17" fmla="*/ 0 h 749"/>
              <a:gd name="T18" fmla="*/ 597 w 749"/>
              <a:gd name="T19" fmla="*/ 260 h 749"/>
              <a:gd name="T20" fmla="*/ 597 w 749"/>
              <a:gd name="T21" fmla="*/ 275 h 749"/>
              <a:gd name="T22" fmla="*/ 270 w 749"/>
              <a:gd name="T23" fmla="*/ 601 h 749"/>
              <a:gd name="T24" fmla="*/ 94 w 749"/>
              <a:gd name="T25" fmla="*/ 550 h 749"/>
              <a:gd name="T26" fmla="*/ 122 w 749"/>
              <a:gd name="T27" fmla="*/ 552 h 749"/>
              <a:gd name="T28" fmla="*/ 264 w 749"/>
              <a:gd name="T29" fmla="*/ 503 h 749"/>
              <a:gd name="T30" fmla="*/ 157 w 749"/>
              <a:gd name="T31" fmla="*/ 423 h 749"/>
              <a:gd name="T32" fmla="*/ 179 w 749"/>
              <a:gd name="T33" fmla="*/ 425 h 749"/>
              <a:gd name="T34" fmla="*/ 209 w 749"/>
              <a:gd name="T35" fmla="*/ 421 h 749"/>
              <a:gd name="T36" fmla="*/ 117 w 749"/>
              <a:gd name="T37" fmla="*/ 308 h 749"/>
              <a:gd name="T38" fmla="*/ 117 w 749"/>
              <a:gd name="T39" fmla="*/ 307 h 749"/>
              <a:gd name="T40" fmla="*/ 169 w 749"/>
              <a:gd name="T41" fmla="*/ 321 h 749"/>
              <a:gd name="T42" fmla="*/ 118 w 749"/>
              <a:gd name="T43" fmla="*/ 226 h 749"/>
              <a:gd name="T44" fmla="*/ 133 w 749"/>
              <a:gd name="T45" fmla="*/ 168 h 749"/>
              <a:gd name="T46" fmla="*/ 370 w 749"/>
              <a:gd name="T47" fmla="*/ 288 h 749"/>
              <a:gd name="T48" fmla="*/ 367 w 749"/>
              <a:gd name="T49" fmla="*/ 262 h 749"/>
              <a:gd name="T50" fmla="*/ 482 w 749"/>
              <a:gd name="T51" fmla="*/ 147 h 749"/>
              <a:gd name="T52" fmla="*/ 566 w 749"/>
              <a:gd name="T53" fmla="*/ 183 h 749"/>
              <a:gd name="T54" fmla="*/ 639 w 749"/>
              <a:gd name="T55" fmla="*/ 155 h 749"/>
              <a:gd name="T56" fmla="*/ 588 w 749"/>
              <a:gd name="T57" fmla="*/ 219 h 749"/>
              <a:gd name="T58" fmla="*/ 654 w 749"/>
              <a:gd name="T59" fmla="*/ 201 h 749"/>
              <a:gd name="T60" fmla="*/ 597 w 749"/>
              <a:gd name="T61" fmla="*/ 260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9" h="749">
                <a:moveTo>
                  <a:pt x="624" y="0"/>
                </a:moveTo>
                <a:cubicBezTo>
                  <a:pt x="125" y="0"/>
                  <a:pt x="125" y="0"/>
                  <a:pt x="125" y="0"/>
                </a:cubicBezTo>
                <a:cubicBezTo>
                  <a:pt x="56" y="0"/>
                  <a:pt x="0" y="55"/>
                  <a:pt x="0" y="124"/>
                </a:cubicBezTo>
                <a:cubicBezTo>
                  <a:pt x="0" y="624"/>
                  <a:pt x="0" y="624"/>
                  <a:pt x="0" y="624"/>
                </a:cubicBezTo>
                <a:cubicBezTo>
                  <a:pt x="0" y="693"/>
                  <a:pt x="56" y="749"/>
                  <a:pt x="125" y="749"/>
                </a:cubicBezTo>
                <a:cubicBezTo>
                  <a:pt x="624" y="749"/>
                  <a:pt x="624" y="749"/>
                  <a:pt x="624" y="749"/>
                </a:cubicBezTo>
                <a:cubicBezTo>
                  <a:pt x="693" y="749"/>
                  <a:pt x="749" y="693"/>
                  <a:pt x="749" y="624"/>
                </a:cubicBezTo>
                <a:cubicBezTo>
                  <a:pt x="749" y="124"/>
                  <a:pt x="749" y="124"/>
                  <a:pt x="749" y="124"/>
                </a:cubicBezTo>
                <a:cubicBezTo>
                  <a:pt x="749" y="55"/>
                  <a:pt x="693" y="0"/>
                  <a:pt x="624" y="0"/>
                </a:cubicBezTo>
                <a:close/>
                <a:moveTo>
                  <a:pt x="597" y="260"/>
                </a:moveTo>
                <a:cubicBezTo>
                  <a:pt x="597" y="265"/>
                  <a:pt x="597" y="270"/>
                  <a:pt x="597" y="275"/>
                </a:cubicBezTo>
                <a:cubicBezTo>
                  <a:pt x="597" y="426"/>
                  <a:pt x="482" y="601"/>
                  <a:pt x="270" y="601"/>
                </a:cubicBezTo>
                <a:cubicBezTo>
                  <a:pt x="205" y="601"/>
                  <a:pt x="146" y="583"/>
                  <a:pt x="94" y="550"/>
                </a:cubicBezTo>
                <a:cubicBezTo>
                  <a:pt x="104" y="551"/>
                  <a:pt x="113" y="552"/>
                  <a:pt x="122" y="552"/>
                </a:cubicBezTo>
                <a:cubicBezTo>
                  <a:pt x="176" y="552"/>
                  <a:pt x="225" y="533"/>
                  <a:pt x="264" y="503"/>
                </a:cubicBezTo>
                <a:cubicBezTo>
                  <a:pt x="214" y="502"/>
                  <a:pt x="172" y="468"/>
                  <a:pt x="157" y="423"/>
                </a:cubicBezTo>
                <a:cubicBezTo>
                  <a:pt x="164" y="424"/>
                  <a:pt x="172" y="425"/>
                  <a:pt x="179" y="425"/>
                </a:cubicBezTo>
                <a:cubicBezTo>
                  <a:pt x="189" y="425"/>
                  <a:pt x="199" y="423"/>
                  <a:pt x="209" y="421"/>
                </a:cubicBezTo>
                <a:cubicBezTo>
                  <a:pt x="156" y="410"/>
                  <a:pt x="117" y="364"/>
                  <a:pt x="117" y="308"/>
                </a:cubicBezTo>
                <a:cubicBezTo>
                  <a:pt x="117" y="308"/>
                  <a:pt x="117" y="307"/>
                  <a:pt x="117" y="307"/>
                </a:cubicBezTo>
                <a:cubicBezTo>
                  <a:pt x="132" y="315"/>
                  <a:pt x="150" y="320"/>
                  <a:pt x="169" y="321"/>
                </a:cubicBezTo>
                <a:cubicBezTo>
                  <a:pt x="138" y="301"/>
                  <a:pt x="118" y="265"/>
                  <a:pt x="118" y="226"/>
                </a:cubicBezTo>
                <a:cubicBezTo>
                  <a:pt x="118" y="204"/>
                  <a:pt x="124" y="185"/>
                  <a:pt x="133" y="168"/>
                </a:cubicBezTo>
                <a:cubicBezTo>
                  <a:pt x="190" y="237"/>
                  <a:pt x="274" y="283"/>
                  <a:pt x="370" y="288"/>
                </a:cubicBezTo>
                <a:cubicBezTo>
                  <a:pt x="368" y="280"/>
                  <a:pt x="367" y="271"/>
                  <a:pt x="367" y="262"/>
                </a:cubicBezTo>
                <a:cubicBezTo>
                  <a:pt x="367" y="198"/>
                  <a:pt x="418" y="147"/>
                  <a:pt x="482" y="147"/>
                </a:cubicBezTo>
                <a:cubicBezTo>
                  <a:pt x="515" y="147"/>
                  <a:pt x="545" y="161"/>
                  <a:pt x="566" y="183"/>
                </a:cubicBezTo>
                <a:cubicBezTo>
                  <a:pt x="592" y="178"/>
                  <a:pt x="616" y="168"/>
                  <a:pt x="639" y="155"/>
                </a:cubicBezTo>
                <a:cubicBezTo>
                  <a:pt x="630" y="182"/>
                  <a:pt x="612" y="204"/>
                  <a:pt x="588" y="219"/>
                </a:cubicBezTo>
                <a:cubicBezTo>
                  <a:pt x="611" y="216"/>
                  <a:pt x="634" y="210"/>
                  <a:pt x="654" y="201"/>
                </a:cubicBezTo>
                <a:cubicBezTo>
                  <a:pt x="639" y="224"/>
                  <a:pt x="619" y="244"/>
                  <a:pt x="597" y="26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27" name="Freeform 31"/>
          <p:cNvSpPr>
            <a:spLocks noEditPoints="1"/>
          </p:cNvSpPr>
          <p:nvPr userDrawn="1"/>
        </p:nvSpPr>
        <p:spPr bwMode="auto">
          <a:xfrm>
            <a:off x="867606" y="4161536"/>
            <a:ext cx="710601" cy="711241"/>
          </a:xfrm>
          <a:custGeom>
            <a:avLst/>
            <a:gdLst>
              <a:gd name="T0" fmla="*/ 336 w 403"/>
              <a:gd name="T1" fmla="*/ 0 h 404"/>
              <a:gd name="T2" fmla="*/ 67 w 403"/>
              <a:gd name="T3" fmla="*/ 0 h 404"/>
              <a:gd name="T4" fmla="*/ 0 w 403"/>
              <a:gd name="T5" fmla="*/ 67 h 404"/>
              <a:gd name="T6" fmla="*/ 0 w 403"/>
              <a:gd name="T7" fmla="*/ 336 h 404"/>
              <a:gd name="T8" fmla="*/ 67 w 403"/>
              <a:gd name="T9" fmla="*/ 404 h 404"/>
              <a:gd name="T10" fmla="*/ 336 w 403"/>
              <a:gd name="T11" fmla="*/ 404 h 404"/>
              <a:gd name="T12" fmla="*/ 403 w 403"/>
              <a:gd name="T13" fmla="*/ 336 h 404"/>
              <a:gd name="T14" fmla="*/ 403 w 403"/>
              <a:gd name="T15" fmla="*/ 67 h 404"/>
              <a:gd name="T16" fmla="*/ 336 w 403"/>
              <a:gd name="T17" fmla="*/ 0 h 404"/>
              <a:gd name="T18" fmla="*/ 310 w 403"/>
              <a:gd name="T19" fmla="*/ 112 h 404"/>
              <a:gd name="T20" fmla="*/ 330 w 403"/>
              <a:gd name="T21" fmla="*/ 118 h 404"/>
              <a:gd name="T22" fmla="*/ 325 w 403"/>
              <a:gd name="T23" fmla="*/ 138 h 404"/>
              <a:gd name="T24" fmla="*/ 241 w 403"/>
              <a:gd name="T25" fmla="*/ 169 h 404"/>
              <a:gd name="T26" fmla="*/ 310 w 403"/>
              <a:gd name="T27" fmla="*/ 112 h 404"/>
              <a:gd name="T28" fmla="*/ 233 w 403"/>
              <a:gd name="T29" fmla="*/ 102 h 404"/>
              <a:gd name="T30" fmla="*/ 232 w 403"/>
              <a:gd name="T31" fmla="*/ 102 h 404"/>
              <a:gd name="T32" fmla="*/ 233 w 403"/>
              <a:gd name="T33" fmla="*/ 102 h 404"/>
              <a:gd name="T34" fmla="*/ 232 w 403"/>
              <a:gd name="T35" fmla="*/ 105 h 404"/>
              <a:gd name="T36" fmla="*/ 163 w 403"/>
              <a:gd name="T37" fmla="*/ 277 h 404"/>
              <a:gd name="T38" fmla="*/ 102 w 403"/>
              <a:gd name="T39" fmla="*/ 329 h 404"/>
              <a:gd name="T40" fmla="*/ 86 w 403"/>
              <a:gd name="T41" fmla="*/ 328 h 404"/>
              <a:gd name="T42" fmla="*/ 77 w 403"/>
              <a:gd name="T43" fmla="*/ 311 h 404"/>
              <a:gd name="T44" fmla="*/ 91 w 403"/>
              <a:gd name="T45" fmla="*/ 301 h 404"/>
              <a:gd name="T46" fmla="*/ 100 w 403"/>
              <a:gd name="T47" fmla="*/ 301 h 404"/>
              <a:gd name="T48" fmla="*/ 134 w 403"/>
              <a:gd name="T49" fmla="*/ 271 h 404"/>
              <a:gd name="T50" fmla="*/ 137 w 403"/>
              <a:gd name="T51" fmla="*/ 263 h 404"/>
              <a:gd name="T52" fmla="*/ 72 w 403"/>
              <a:gd name="T53" fmla="*/ 101 h 404"/>
              <a:gd name="T54" fmla="*/ 81 w 403"/>
              <a:gd name="T55" fmla="*/ 81 h 404"/>
              <a:gd name="T56" fmla="*/ 102 w 403"/>
              <a:gd name="T57" fmla="*/ 89 h 404"/>
              <a:gd name="T58" fmla="*/ 102 w 403"/>
              <a:gd name="T59" fmla="*/ 91 h 404"/>
              <a:gd name="T60" fmla="*/ 154 w 403"/>
              <a:gd name="T61" fmla="*/ 222 h 404"/>
              <a:gd name="T62" fmla="*/ 155 w 403"/>
              <a:gd name="T63" fmla="*/ 222 h 404"/>
              <a:gd name="T64" fmla="*/ 204 w 403"/>
              <a:gd name="T65" fmla="*/ 93 h 404"/>
              <a:gd name="T66" fmla="*/ 204 w 403"/>
              <a:gd name="T67" fmla="*/ 92 h 404"/>
              <a:gd name="T68" fmla="*/ 204 w 403"/>
              <a:gd name="T69" fmla="*/ 92 h 404"/>
              <a:gd name="T70" fmla="*/ 223 w 403"/>
              <a:gd name="T71" fmla="*/ 82 h 404"/>
              <a:gd name="T72" fmla="*/ 233 w 403"/>
              <a:gd name="T73" fmla="*/ 102 h 404"/>
              <a:gd name="T74" fmla="*/ 330 w 403"/>
              <a:gd name="T75" fmla="*/ 299 h 404"/>
              <a:gd name="T76" fmla="*/ 310 w 403"/>
              <a:gd name="T77" fmla="*/ 305 h 404"/>
              <a:gd name="T78" fmla="*/ 241 w 403"/>
              <a:gd name="T79" fmla="*/ 247 h 404"/>
              <a:gd name="T80" fmla="*/ 325 w 403"/>
              <a:gd name="T81" fmla="*/ 279 h 404"/>
              <a:gd name="T82" fmla="*/ 330 w 403"/>
              <a:gd name="T83" fmla="*/ 299 h 404"/>
              <a:gd name="T84" fmla="*/ 352 w 403"/>
              <a:gd name="T85" fmla="*/ 222 h 404"/>
              <a:gd name="T86" fmla="*/ 263 w 403"/>
              <a:gd name="T87" fmla="*/ 208 h 404"/>
              <a:gd name="T88" fmla="*/ 352 w 403"/>
              <a:gd name="T89" fmla="*/ 192 h 404"/>
              <a:gd name="T90" fmla="*/ 366 w 403"/>
              <a:gd name="T91" fmla="*/ 207 h 404"/>
              <a:gd name="T92" fmla="*/ 352 w 403"/>
              <a:gd name="T93" fmla="*/ 22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3" h="404">
                <a:moveTo>
                  <a:pt x="336" y="0"/>
                </a:moveTo>
                <a:cubicBezTo>
                  <a:pt x="67" y="0"/>
                  <a:pt x="67" y="0"/>
                  <a:pt x="67" y="0"/>
                </a:cubicBezTo>
                <a:cubicBezTo>
                  <a:pt x="30" y="0"/>
                  <a:pt x="0" y="30"/>
                  <a:pt x="0" y="67"/>
                </a:cubicBezTo>
                <a:cubicBezTo>
                  <a:pt x="0" y="336"/>
                  <a:pt x="0" y="336"/>
                  <a:pt x="0" y="336"/>
                </a:cubicBezTo>
                <a:cubicBezTo>
                  <a:pt x="0" y="374"/>
                  <a:pt x="30" y="404"/>
                  <a:pt x="67" y="404"/>
                </a:cubicBezTo>
                <a:cubicBezTo>
                  <a:pt x="336" y="404"/>
                  <a:pt x="336" y="404"/>
                  <a:pt x="336" y="404"/>
                </a:cubicBezTo>
                <a:cubicBezTo>
                  <a:pt x="373" y="404"/>
                  <a:pt x="403" y="374"/>
                  <a:pt x="403" y="336"/>
                </a:cubicBezTo>
                <a:cubicBezTo>
                  <a:pt x="403" y="67"/>
                  <a:pt x="403" y="67"/>
                  <a:pt x="403" y="67"/>
                </a:cubicBezTo>
                <a:cubicBezTo>
                  <a:pt x="403" y="30"/>
                  <a:pt x="373" y="0"/>
                  <a:pt x="336" y="0"/>
                </a:cubicBezTo>
                <a:close/>
                <a:moveTo>
                  <a:pt x="310" y="112"/>
                </a:moveTo>
                <a:cubicBezTo>
                  <a:pt x="317" y="108"/>
                  <a:pt x="326" y="110"/>
                  <a:pt x="330" y="118"/>
                </a:cubicBezTo>
                <a:cubicBezTo>
                  <a:pt x="335" y="125"/>
                  <a:pt x="332" y="134"/>
                  <a:pt x="325" y="138"/>
                </a:cubicBezTo>
                <a:cubicBezTo>
                  <a:pt x="318" y="141"/>
                  <a:pt x="245" y="176"/>
                  <a:pt x="241" y="169"/>
                </a:cubicBezTo>
                <a:cubicBezTo>
                  <a:pt x="237" y="161"/>
                  <a:pt x="303" y="115"/>
                  <a:pt x="310" y="112"/>
                </a:cubicBezTo>
                <a:close/>
                <a:moveTo>
                  <a:pt x="233" y="102"/>
                </a:moveTo>
                <a:cubicBezTo>
                  <a:pt x="233" y="102"/>
                  <a:pt x="233" y="102"/>
                  <a:pt x="232" y="102"/>
                </a:cubicBezTo>
                <a:cubicBezTo>
                  <a:pt x="232" y="102"/>
                  <a:pt x="232" y="102"/>
                  <a:pt x="233" y="102"/>
                </a:cubicBezTo>
                <a:cubicBezTo>
                  <a:pt x="232" y="103"/>
                  <a:pt x="232" y="104"/>
                  <a:pt x="232" y="105"/>
                </a:cubicBezTo>
                <a:cubicBezTo>
                  <a:pt x="229" y="112"/>
                  <a:pt x="163" y="277"/>
                  <a:pt x="163" y="277"/>
                </a:cubicBezTo>
                <a:cubicBezTo>
                  <a:pt x="150" y="308"/>
                  <a:pt x="138" y="329"/>
                  <a:pt x="102" y="329"/>
                </a:cubicBezTo>
                <a:cubicBezTo>
                  <a:pt x="97" y="329"/>
                  <a:pt x="92" y="329"/>
                  <a:pt x="86" y="328"/>
                </a:cubicBezTo>
                <a:cubicBezTo>
                  <a:pt x="79" y="325"/>
                  <a:pt x="75" y="319"/>
                  <a:pt x="77" y="311"/>
                </a:cubicBezTo>
                <a:cubicBezTo>
                  <a:pt x="79" y="305"/>
                  <a:pt x="85" y="300"/>
                  <a:pt x="91" y="301"/>
                </a:cubicBezTo>
                <a:cubicBezTo>
                  <a:pt x="92" y="301"/>
                  <a:pt x="98" y="301"/>
                  <a:pt x="100" y="301"/>
                </a:cubicBezTo>
                <a:cubicBezTo>
                  <a:pt x="120" y="301"/>
                  <a:pt x="128" y="289"/>
                  <a:pt x="134" y="271"/>
                </a:cubicBezTo>
                <a:cubicBezTo>
                  <a:pt x="134" y="271"/>
                  <a:pt x="134" y="271"/>
                  <a:pt x="137" y="263"/>
                </a:cubicBezTo>
                <a:cubicBezTo>
                  <a:pt x="137" y="263"/>
                  <a:pt x="78" y="117"/>
                  <a:pt x="72" y="101"/>
                </a:cubicBezTo>
                <a:cubicBezTo>
                  <a:pt x="69" y="92"/>
                  <a:pt x="73" y="84"/>
                  <a:pt x="81" y="81"/>
                </a:cubicBezTo>
                <a:cubicBezTo>
                  <a:pt x="89" y="78"/>
                  <a:pt x="98" y="82"/>
                  <a:pt x="102" y="89"/>
                </a:cubicBezTo>
                <a:cubicBezTo>
                  <a:pt x="102" y="89"/>
                  <a:pt x="102" y="89"/>
                  <a:pt x="102" y="91"/>
                </a:cubicBezTo>
                <a:cubicBezTo>
                  <a:pt x="102" y="91"/>
                  <a:pt x="102" y="91"/>
                  <a:pt x="154" y="222"/>
                </a:cubicBezTo>
                <a:cubicBezTo>
                  <a:pt x="154" y="222"/>
                  <a:pt x="154" y="222"/>
                  <a:pt x="155" y="222"/>
                </a:cubicBezTo>
                <a:cubicBezTo>
                  <a:pt x="155" y="222"/>
                  <a:pt x="199" y="107"/>
                  <a:pt x="204" y="93"/>
                </a:cubicBezTo>
                <a:cubicBezTo>
                  <a:pt x="204" y="93"/>
                  <a:pt x="204" y="93"/>
                  <a:pt x="204" y="92"/>
                </a:cubicBezTo>
                <a:cubicBezTo>
                  <a:pt x="204" y="92"/>
                  <a:pt x="204" y="92"/>
                  <a:pt x="204" y="92"/>
                </a:cubicBezTo>
                <a:cubicBezTo>
                  <a:pt x="207" y="84"/>
                  <a:pt x="216" y="80"/>
                  <a:pt x="223" y="82"/>
                </a:cubicBezTo>
                <a:cubicBezTo>
                  <a:pt x="231" y="85"/>
                  <a:pt x="235" y="93"/>
                  <a:pt x="233" y="102"/>
                </a:cubicBezTo>
                <a:close/>
                <a:moveTo>
                  <a:pt x="330" y="299"/>
                </a:moveTo>
                <a:cubicBezTo>
                  <a:pt x="326" y="306"/>
                  <a:pt x="317" y="309"/>
                  <a:pt x="310" y="305"/>
                </a:cubicBezTo>
                <a:cubicBezTo>
                  <a:pt x="303" y="300"/>
                  <a:pt x="237" y="254"/>
                  <a:pt x="241" y="247"/>
                </a:cubicBezTo>
                <a:cubicBezTo>
                  <a:pt x="245" y="240"/>
                  <a:pt x="318" y="274"/>
                  <a:pt x="325" y="279"/>
                </a:cubicBezTo>
                <a:cubicBezTo>
                  <a:pt x="332" y="283"/>
                  <a:pt x="335" y="292"/>
                  <a:pt x="330" y="299"/>
                </a:cubicBezTo>
                <a:close/>
                <a:moveTo>
                  <a:pt x="352" y="222"/>
                </a:moveTo>
                <a:cubicBezTo>
                  <a:pt x="343" y="222"/>
                  <a:pt x="263" y="217"/>
                  <a:pt x="263" y="208"/>
                </a:cubicBezTo>
                <a:cubicBezTo>
                  <a:pt x="263" y="200"/>
                  <a:pt x="343" y="192"/>
                  <a:pt x="352" y="192"/>
                </a:cubicBezTo>
                <a:cubicBezTo>
                  <a:pt x="360" y="192"/>
                  <a:pt x="366" y="199"/>
                  <a:pt x="366" y="207"/>
                </a:cubicBezTo>
                <a:cubicBezTo>
                  <a:pt x="366" y="215"/>
                  <a:pt x="360" y="222"/>
                  <a:pt x="352" y="22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28" name="Group 127"/>
          <p:cNvGrpSpPr/>
          <p:nvPr userDrawn="1"/>
        </p:nvGrpSpPr>
        <p:grpSpPr>
          <a:xfrm>
            <a:off x="9444968" y="2181334"/>
            <a:ext cx="540857" cy="542978"/>
            <a:chOff x="6745287" y="-1125538"/>
            <a:chExt cx="781051" cy="784225"/>
          </a:xfrm>
          <a:solidFill>
            <a:schemeClr val="bg1">
              <a:lumMod val="85000"/>
            </a:schemeClr>
          </a:solidFill>
        </p:grpSpPr>
        <p:sp>
          <p:nvSpPr>
            <p:cNvPr id="129" name="Freeform 35"/>
            <p:cNvSpPr>
              <a:spLocks/>
            </p:cNvSpPr>
            <p:nvPr/>
          </p:nvSpPr>
          <p:spPr bwMode="auto">
            <a:xfrm>
              <a:off x="7069138" y="-798513"/>
              <a:ext cx="457200" cy="457200"/>
            </a:xfrm>
            <a:custGeom>
              <a:avLst/>
              <a:gdLst>
                <a:gd name="T0" fmla="*/ 33 w 120"/>
                <a:gd name="T1" fmla="*/ 8 h 120"/>
                <a:gd name="T2" fmla="*/ 51 w 120"/>
                <a:gd name="T3" fmla="*/ 26 h 120"/>
                <a:gd name="T4" fmla="*/ 56 w 120"/>
                <a:gd name="T5" fmla="*/ 28 h 120"/>
                <a:gd name="T6" fmla="*/ 92 w 120"/>
                <a:gd name="T7" fmla="*/ 64 h 120"/>
                <a:gd name="T8" fmla="*/ 92 w 120"/>
                <a:gd name="T9" fmla="*/ 76 h 120"/>
                <a:gd name="T10" fmla="*/ 75 w 120"/>
                <a:gd name="T11" fmla="*/ 92 h 120"/>
                <a:gd name="T12" fmla="*/ 63 w 120"/>
                <a:gd name="T13" fmla="*/ 92 h 120"/>
                <a:gd name="T14" fmla="*/ 28 w 120"/>
                <a:gd name="T15" fmla="*/ 57 h 120"/>
                <a:gd name="T16" fmla="*/ 25 w 120"/>
                <a:gd name="T17" fmla="*/ 51 h 120"/>
                <a:gd name="T18" fmla="*/ 8 w 120"/>
                <a:gd name="T19" fmla="*/ 33 h 120"/>
                <a:gd name="T20" fmla="*/ 12 w 120"/>
                <a:gd name="T21" fmla="*/ 73 h 120"/>
                <a:gd name="T22" fmla="*/ 47 w 120"/>
                <a:gd name="T23" fmla="*/ 108 h 120"/>
                <a:gd name="T24" fmla="*/ 91 w 120"/>
                <a:gd name="T25" fmla="*/ 108 h 120"/>
                <a:gd name="T26" fmla="*/ 108 w 120"/>
                <a:gd name="T27" fmla="*/ 92 h 120"/>
                <a:gd name="T28" fmla="*/ 108 w 120"/>
                <a:gd name="T29" fmla="*/ 48 h 120"/>
                <a:gd name="T30" fmla="*/ 72 w 120"/>
                <a:gd name="T31" fmla="*/ 12 h 120"/>
                <a:gd name="T32" fmla="*/ 33 w 120"/>
                <a:gd name="T33" fmla="*/ 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20">
                  <a:moveTo>
                    <a:pt x="33" y="8"/>
                  </a:moveTo>
                  <a:cubicBezTo>
                    <a:pt x="51" y="26"/>
                    <a:pt x="51" y="26"/>
                    <a:pt x="51" y="26"/>
                  </a:cubicBezTo>
                  <a:cubicBezTo>
                    <a:pt x="53" y="26"/>
                    <a:pt x="55" y="27"/>
                    <a:pt x="56" y="28"/>
                  </a:cubicBezTo>
                  <a:cubicBezTo>
                    <a:pt x="92" y="64"/>
                    <a:pt x="92" y="64"/>
                    <a:pt x="92" y="64"/>
                  </a:cubicBezTo>
                  <a:cubicBezTo>
                    <a:pt x="95" y="67"/>
                    <a:pt x="95" y="72"/>
                    <a:pt x="92" y="76"/>
                  </a:cubicBezTo>
                  <a:cubicBezTo>
                    <a:pt x="75" y="92"/>
                    <a:pt x="75" y="92"/>
                    <a:pt x="75" y="92"/>
                  </a:cubicBezTo>
                  <a:cubicBezTo>
                    <a:pt x="72" y="96"/>
                    <a:pt x="67" y="96"/>
                    <a:pt x="63" y="92"/>
                  </a:cubicBezTo>
                  <a:cubicBezTo>
                    <a:pt x="28" y="57"/>
                    <a:pt x="28" y="57"/>
                    <a:pt x="28" y="57"/>
                  </a:cubicBezTo>
                  <a:cubicBezTo>
                    <a:pt x="26" y="55"/>
                    <a:pt x="25" y="53"/>
                    <a:pt x="25" y="51"/>
                  </a:cubicBezTo>
                  <a:cubicBezTo>
                    <a:pt x="8" y="33"/>
                    <a:pt x="8" y="33"/>
                    <a:pt x="8" y="33"/>
                  </a:cubicBezTo>
                  <a:cubicBezTo>
                    <a:pt x="0" y="45"/>
                    <a:pt x="1" y="62"/>
                    <a:pt x="12" y="73"/>
                  </a:cubicBezTo>
                  <a:cubicBezTo>
                    <a:pt x="47" y="108"/>
                    <a:pt x="47" y="108"/>
                    <a:pt x="47" y="108"/>
                  </a:cubicBezTo>
                  <a:cubicBezTo>
                    <a:pt x="59" y="120"/>
                    <a:pt x="79" y="120"/>
                    <a:pt x="91" y="108"/>
                  </a:cubicBezTo>
                  <a:cubicBezTo>
                    <a:pt x="108" y="92"/>
                    <a:pt x="108" y="92"/>
                    <a:pt x="108" y="92"/>
                  </a:cubicBezTo>
                  <a:cubicBezTo>
                    <a:pt x="120" y="80"/>
                    <a:pt x="120" y="60"/>
                    <a:pt x="108" y="48"/>
                  </a:cubicBezTo>
                  <a:cubicBezTo>
                    <a:pt x="72" y="12"/>
                    <a:pt x="72" y="12"/>
                    <a:pt x="72" y="12"/>
                  </a:cubicBezTo>
                  <a:cubicBezTo>
                    <a:pt x="62" y="2"/>
                    <a:pt x="45" y="0"/>
                    <a:pt x="33" y="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30" name="Freeform 36"/>
            <p:cNvSpPr>
              <a:spLocks/>
            </p:cNvSpPr>
            <p:nvPr/>
          </p:nvSpPr>
          <p:spPr bwMode="auto">
            <a:xfrm>
              <a:off x="6745287" y="-1125538"/>
              <a:ext cx="457200" cy="457200"/>
            </a:xfrm>
            <a:custGeom>
              <a:avLst/>
              <a:gdLst>
                <a:gd name="T0" fmla="*/ 28 w 120"/>
                <a:gd name="T1" fmla="*/ 12 h 120"/>
                <a:gd name="T2" fmla="*/ 12 w 120"/>
                <a:gd name="T3" fmla="*/ 29 h 120"/>
                <a:gd name="T4" fmla="*/ 12 w 120"/>
                <a:gd name="T5" fmla="*/ 73 h 120"/>
                <a:gd name="T6" fmla="*/ 47 w 120"/>
                <a:gd name="T7" fmla="*/ 108 h 120"/>
                <a:gd name="T8" fmla="*/ 86 w 120"/>
                <a:gd name="T9" fmla="*/ 112 h 120"/>
                <a:gd name="T10" fmla="*/ 68 w 120"/>
                <a:gd name="T11" fmla="*/ 95 h 120"/>
                <a:gd name="T12" fmla="*/ 63 w 120"/>
                <a:gd name="T13" fmla="*/ 93 h 120"/>
                <a:gd name="T14" fmla="*/ 27 w 120"/>
                <a:gd name="T15" fmla="*/ 57 h 120"/>
                <a:gd name="T16" fmla="*/ 27 w 120"/>
                <a:gd name="T17" fmla="*/ 45 h 120"/>
                <a:gd name="T18" fmla="*/ 44 w 120"/>
                <a:gd name="T19" fmla="*/ 28 h 120"/>
                <a:gd name="T20" fmla="*/ 56 w 120"/>
                <a:gd name="T21" fmla="*/ 28 h 120"/>
                <a:gd name="T22" fmla="*/ 92 w 120"/>
                <a:gd name="T23" fmla="*/ 64 h 120"/>
                <a:gd name="T24" fmla="*/ 94 w 120"/>
                <a:gd name="T25" fmla="*/ 70 h 120"/>
                <a:gd name="T26" fmla="*/ 111 w 120"/>
                <a:gd name="T27" fmla="*/ 87 h 120"/>
                <a:gd name="T28" fmla="*/ 108 w 120"/>
                <a:gd name="T29" fmla="*/ 48 h 120"/>
                <a:gd name="T30" fmla="*/ 72 w 120"/>
                <a:gd name="T31" fmla="*/ 12 h 120"/>
                <a:gd name="T32" fmla="*/ 28 w 120"/>
                <a:gd name="T33"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120">
                  <a:moveTo>
                    <a:pt x="28" y="12"/>
                  </a:moveTo>
                  <a:cubicBezTo>
                    <a:pt x="12" y="29"/>
                    <a:pt x="12" y="29"/>
                    <a:pt x="12" y="29"/>
                  </a:cubicBezTo>
                  <a:cubicBezTo>
                    <a:pt x="0" y="41"/>
                    <a:pt x="0" y="61"/>
                    <a:pt x="12" y="73"/>
                  </a:cubicBezTo>
                  <a:cubicBezTo>
                    <a:pt x="47" y="108"/>
                    <a:pt x="47" y="108"/>
                    <a:pt x="47" y="108"/>
                  </a:cubicBezTo>
                  <a:cubicBezTo>
                    <a:pt x="58" y="119"/>
                    <a:pt x="74" y="120"/>
                    <a:pt x="86" y="112"/>
                  </a:cubicBezTo>
                  <a:cubicBezTo>
                    <a:pt x="68" y="95"/>
                    <a:pt x="68" y="95"/>
                    <a:pt x="68" y="95"/>
                  </a:cubicBezTo>
                  <a:cubicBezTo>
                    <a:pt x="67" y="95"/>
                    <a:pt x="65" y="94"/>
                    <a:pt x="63" y="93"/>
                  </a:cubicBezTo>
                  <a:cubicBezTo>
                    <a:pt x="27" y="57"/>
                    <a:pt x="27" y="57"/>
                    <a:pt x="27" y="57"/>
                  </a:cubicBezTo>
                  <a:cubicBezTo>
                    <a:pt x="24" y="54"/>
                    <a:pt x="24" y="48"/>
                    <a:pt x="27" y="45"/>
                  </a:cubicBezTo>
                  <a:cubicBezTo>
                    <a:pt x="44" y="28"/>
                    <a:pt x="44" y="28"/>
                    <a:pt x="44" y="28"/>
                  </a:cubicBezTo>
                  <a:cubicBezTo>
                    <a:pt x="47" y="25"/>
                    <a:pt x="53" y="25"/>
                    <a:pt x="56" y="28"/>
                  </a:cubicBezTo>
                  <a:cubicBezTo>
                    <a:pt x="92" y="64"/>
                    <a:pt x="92" y="64"/>
                    <a:pt x="92" y="64"/>
                  </a:cubicBezTo>
                  <a:cubicBezTo>
                    <a:pt x="94" y="66"/>
                    <a:pt x="94" y="68"/>
                    <a:pt x="94" y="70"/>
                  </a:cubicBezTo>
                  <a:cubicBezTo>
                    <a:pt x="111" y="87"/>
                    <a:pt x="111" y="87"/>
                    <a:pt x="111" y="87"/>
                  </a:cubicBezTo>
                  <a:cubicBezTo>
                    <a:pt x="120" y="75"/>
                    <a:pt x="118" y="59"/>
                    <a:pt x="108" y="48"/>
                  </a:cubicBezTo>
                  <a:cubicBezTo>
                    <a:pt x="72" y="12"/>
                    <a:pt x="72" y="12"/>
                    <a:pt x="72" y="12"/>
                  </a:cubicBezTo>
                  <a:cubicBezTo>
                    <a:pt x="60" y="0"/>
                    <a:pt x="40" y="0"/>
                    <a:pt x="28" y="1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31" name="Freeform 37"/>
            <p:cNvSpPr>
              <a:spLocks/>
            </p:cNvSpPr>
            <p:nvPr/>
          </p:nvSpPr>
          <p:spPr bwMode="auto">
            <a:xfrm>
              <a:off x="6996113" y="-869950"/>
              <a:ext cx="274638" cy="274638"/>
            </a:xfrm>
            <a:custGeom>
              <a:avLst/>
              <a:gdLst>
                <a:gd name="T0" fmla="*/ 68 w 72"/>
                <a:gd name="T1" fmla="*/ 52 h 72"/>
                <a:gd name="T2" fmla="*/ 20 w 72"/>
                <a:gd name="T3" fmla="*/ 5 h 72"/>
                <a:gd name="T4" fmla="*/ 4 w 72"/>
                <a:gd name="T5" fmla="*/ 5 h 72"/>
                <a:gd name="T6" fmla="*/ 4 w 72"/>
                <a:gd name="T7" fmla="*/ 20 h 72"/>
                <a:gd name="T8" fmla="*/ 52 w 72"/>
                <a:gd name="T9" fmla="*/ 68 h 72"/>
                <a:gd name="T10" fmla="*/ 68 w 72"/>
                <a:gd name="T11" fmla="*/ 68 h 72"/>
                <a:gd name="T12" fmla="*/ 68 w 72"/>
                <a:gd name="T13" fmla="*/ 52 h 72"/>
              </a:gdLst>
              <a:ahLst/>
              <a:cxnLst>
                <a:cxn ang="0">
                  <a:pos x="T0" y="T1"/>
                </a:cxn>
                <a:cxn ang="0">
                  <a:pos x="T2" y="T3"/>
                </a:cxn>
                <a:cxn ang="0">
                  <a:pos x="T4" y="T5"/>
                </a:cxn>
                <a:cxn ang="0">
                  <a:pos x="T6" y="T7"/>
                </a:cxn>
                <a:cxn ang="0">
                  <a:pos x="T8" y="T9"/>
                </a:cxn>
                <a:cxn ang="0">
                  <a:pos x="T10" y="T11"/>
                </a:cxn>
                <a:cxn ang="0">
                  <a:pos x="T12" y="T13"/>
                </a:cxn>
              </a:cxnLst>
              <a:rect l="0" t="0" r="r" b="b"/>
              <a:pathLst>
                <a:path w="72" h="72">
                  <a:moveTo>
                    <a:pt x="68" y="52"/>
                  </a:moveTo>
                  <a:cubicBezTo>
                    <a:pt x="20" y="5"/>
                    <a:pt x="20" y="5"/>
                    <a:pt x="20" y="5"/>
                  </a:cubicBezTo>
                  <a:cubicBezTo>
                    <a:pt x="16" y="0"/>
                    <a:pt x="9" y="0"/>
                    <a:pt x="4" y="5"/>
                  </a:cubicBezTo>
                  <a:cubicBezTo>
                    <a:pt x="0" y="9"/>
                    <a:pt x="0" y="16"/>
                    <a:pt x="4" y="20"/>
                  </a:cubicBezTo>
                  <a:cubicBezTo>
                    <a:pt x="52" y="68"/>
                    <a:pt x="52" y="68"/>
                    <a:pt x="52" y="68"/>
                  </a:cubicBezTo>
                  <a:cubicBezTo>
                    <a:pt x="56" y="72"/>
                    <a:pt x="64" y="72"/>
                    <a:pt x="68" y="68"/>
                  </a:cubicBezTo>
                  <a:cubicBezTo>
                    <a:pt x="72" y="64"/>
                    <a:pt x="72" y="57"/>
                    <a:pt x="68"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32" name="Group 131"/>
          <p:cNvGrpSpPr/>
          <p:nvPr userDrawn="1"/>
        </p:nvGrpSpPr>
        <p:grpSpPr>
          <a:xfrm rot="3969289">
            <a:off x="9399193" y="1052882"/>
            <a:ext cx="464113" cy="464179"/>
            <a:chOff x="6251575" y="-1365250"/>
            <a:chExt cx="762000" cy="762000"/>
          </a:xfrm>
          <a:solidFill>
            <a:schemeClr val="bg1">
              <a:lumMod val="85000"/>
            </a:schemeClr>
          </a:solidFill>
        </p:grpSpPr>
        <p:sp>
          <p:nvSpPr>
            <p:cNvPr id="133" name="Freeform 41"/>
            <p:cNvSpPr>
              <a:spLocks/>
            </p:cNvSpPr>
            <p:nvPr/>
          </p:nvSpPr>
          <p:spPr bwMode="auto">
            <a:xfrm>
              <a:off x="6251575" y="-1365250"/>
              <a:ext cx="639763" cy="644525"/>
            </a:xfrm>
            <a:custGeom>
              <a:avLst/>
              <a:gdLst>
                <a:gd name="T0" fmla="*/ 136 w 168"/>
                <a:gd name="T1" fmla="*/ 72 h 169"/>
                <a:gd name="T2" fmla="*/ 67 w 168"/>
                <a:gd name="T3" fmla="*/ 19 h 169"/>
                <a:gd name="T4" fmla="*/ 63 w 168"/>
                <a:gd name="T5" fmla="*/ 0 h 169"/>
                <a:gd name="T6" fmla="*/ 0 w 168"/>
                <a:gd name="T7" fmla="*/ 63 h 169"/>
                <a:gd name="T8" fmla="*/ 19 w 168"/>
                <a:gd name="T9" fmla="*/ 67 h 169"/>
                <a:gd name="T10" fmla="*/ 72 w 168"/>
                <a:gd name="T11" fmla="*/ 137 h 169"/>
                <a:gd name="T12" fmla="*/ 76 w 168"/>
                <a:gd name="T13" fmla="*/ 169 h 169"/>
                <a:gd name="T14" fmla="*/ 168 w 168"/>
                <a:gd name="T15" fmla="*/ 76 h 169"/>
                <a:gd name="T16" fmla="*/ 136 w 168"/>
                <a:gd name="T17" fmla="*/ 7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69">
                  <a:moveTo>
                    <a:pt x="136" y="72"/>
                  </a:moveTo>
                  <a:cubicBezTo>
                    <a:pt x="67" y="19"/>
                    <a:pt x="67" y="19"/>
                    <a:pt x="67" y="19"/>
                  </a:cubicBezTo>
                  <a:cubicBezTo>
                    <a:pt x="68" y="12"/>
                    <a:pt x="67" y="5"/>
                    <a:pt x="63" y="0"/>
                  </a:cubicBezTo>
                  <a:cubicBezTo>
                    <a:pt x="0" y="63"/>
                    <a:pt x="0" y="63"/>
                    <a:pt x="0" y="63"/>
                  </a:cubicBezTo>
                  <a:cubicBezTo>
                    <a:pt x="4" y="68"/>
                    <a:pt x="11" y="69"/>
                    <a:pt x="19" y="67"/>
                  </a:cubicBezTo>
                  <a:cubicBezTo>
                    <a:pt x="72" y="137"/>
                    <a:pt x="72" y="137"/>
                    <a:pt x="72" y="137"/>
                  </a:cubicBezTo>
                  <a:cubicBezTo>
                    <a:pt x="68" y="150"/>
                    <a:pt x="69" y="162"/>
                    <a:pt x="76" y="169"/>
                  </a:cubicBezTo>
                  <a:cubicBezTo>
                    <a:pt x="168" y="76"/>
                    <a:pt x="168" y="76"/>
                    <a:pt x="168" y="76"/>
                  </a:cubicBezTo>
                  <a:cubicBezTo>
                    <a:pt x="161" y="69"/>
                    <a:pt x="150" y="68"/>
                    <a:pt x="136" y="7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34" name="Freeform 42"/>
            <p:cNvSpPr>
              <a:spLocks/>
            </p:cNvSpPr>
            <p:nvPr/>
          </p:nvSpPr>
          <p:spPr bwMode="auto">
            <a:xfrm>
              <a:off x="6689725" y="-927100"/>
              <a:ext cx="323850" cy="323850"/>
            </a:xfrm>
            <a:custGeom>
              <a:avLst/>
              <a:gdLst>
                <a:gd name="T0" fmla="*/ 204 w 204"/>
                <a:gd name="T1" fmla="*/ 204 h 204"/>
                <a:gd name="T2" fmla="*/ 50 w 204"/>
                <a:gd name="T3" fmla="*/ 0 h 204"/>
                <a:gd name="T4" fmla="*/ 0 w 204"/>
                <a:gd name="T5" fmla="*/ 51 h 204"/>
                <a:gd name="T6" fmla="*/ 204 w 204"/>
                <a:gd name="T7" fmla="*/ 204 h 204"/>
              </a:gdLst>
              <a:ahLst/>
              <a:cxnLst>
                <a:cxn ang="0">
                  <a:pos x="T0" y="T1"/>
                </a:cxn>
                <a:cxn ang="0">
                  <a:pos x="T2" y="T3"/>
                </a:cxn>
                <a:cxn ang="0">
                  <a:pos x="T4" y="T5"/>
                </a:cxn>
                <a:cxn ang="0">
                  <a:pos x="T6" y="T7"/>
                </a:cxn>
              </a:cxnLst>
              <a:rect l="0" t="0" r="r" b="b"/>
              <a:pathLst>
                <a:path w="204" h="204">
                  <a:moveTo>
                    <a:pt x="204" y="204"/>
                  </a:moveTo>
                  <a:lnTo>
                    <a:pt x="50" y="0"/>
                  </a:lnTo>
                  <a:lnTo>
                    <a:pt x="0" y="51"/>
                  </a:lnTo>
                  <a:lnTo>
                    <a:pt x="204" y="204"/>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35" name="Freeform 46"/>
          <p:cNvSpPr>
            <a:spLocks/>
          </p:cNvSpPr>
          <p:nvPr userDrawn="1"/>
        </p:nvSpPr>
        <p:spPr bwMode="auto">
          <a:xfrm>
            <a:off x="9719753" y="5893676"/>
            <a:ext cx="320223" cy="335490"/>
          </a:xfrm>
          <a:custGeom>
            <a:avLst/>
            <a:gdLst>
              <a:gd name="T0" fmla="*/ 59 w 192"/>
              <a:gd name="T1" fmla="*/ 34 h 201"/>
              <a:gd name="T2" fmla="*/ 59 w 192"/>
              <a:gd name="T3" fmla="*/ 133 h 201"/>
              <a:gd name="T4" fmla="*/ 38 w 192"/>
              <a:gd name="T5" fmla="*/ 126 h 201"/>
              <a:gd name="T6" fmla="*/ 0 w 192"/>
              <a:gd name="T7" fmla="*/ 163 h 201"/>
              <a:gd name="T8" fmla="*/ 38 w 192"/>
              <a:gd name="T9" fmla="*/ 201 h 201"/>
              <a:gd name="T10" fmla="*/ 75 w 192"/>
              <a:gd name="T11" fmla="*/ 163 h 201"/>
              <a:gd name="T12" fmla="*/ 75 w 192"/>
              <a:gd name="T13" fmla="*/ 75 h 201"/>
              <a:gd name="T14" fmla="*/ 177 w 192"/>
              <a:gd name="T15" fmla="*/ 54 h 201"/>
              <a:gd name="T16" fmla="*/ 176 w 192"/>
              <a:gd name="T17" fmla="*/ 54 h 201"/>
              <a:gd name="T18" fmla="*/ 176 w 192"/>
              <a:gd name="T19" fmla="*/ 105 h 201"/>
              <a:gd name="T20" fmla="*/ 155 w 192"/>
              <a:gd name="T21" fmla="*/ 98 h 201"/>
              <a:gd name="T22" fmla="*/ 117 w 192"/>
              <a:gd name="T23" fmla="*/ 136 h 201"/>
              <a:gd name="T24" fmla="*/ 155 w 192"/>
              <a:gd name="T25" fmla="*/ 173 h 201"/>
              <a:gd name="T26" fmla="*/ 192 w 192"/>
              <a:gd name="T27" fmla="*/ 136 h 201"/>
              <a:gd name="T28" fmla="*/ 192 w 192"/>
              <a:gd name="T29" fmla="*/ 9 h 201"/>
              <a:gd name="T30" fmla="*/ 181 w 192"/>
              <a:gd name="T31" fmla="*/ 1 h 201"/>
              <a:gd name="T32" fmla="*/ 66 w 192"/>
              <a:gd name="T33" fmla="*/ 25 h 201"/>
              <a:gd name="T34" fmla="*/ 59 w 192"/>
              <a:gd name="T35" fmla="*/ 3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201">
                <a:moveTo>
                  <a:pt x="59" y="34"/>
                </a:moveTo>
                <a:cubicBezTo>
                  <a:pt x="59" y="133"/>
                  <a:pt x="59" y="133"/>
                  <a:pt x="59" y="133"/>
                </a:cubicBezTo>
                <a:cubicBezTo>
                  <a:pt x="53" y="129"/>
                  <a:pt x="46" y="126"/>
                  <a:pt x="38" y="126"/>
                </a:cubicBezTo>
                <a:cubicBezTo>
                  <a:pt x="17" y="126"/>
                  <a:pt x="0" y="143"/>
                  <a:pt x="0" y="163"/>
                </a:cubicBezTo>
                <a:cubicBezTo>
                  <a:pt x="0" y="184"/>
                  <a:pt x="17" y="201"/>
                  <a:pt x="38" y="201"/>
                </a:cubicBezTo>
                <a:cubicBezTo>
                  <a:pt x="58" y="201"/>
                  <a:pt x="75" y="184"/>
                  <a:pt x="75" y="163"/>
                </a:cubicBezTo>
                <a:cubicBezTo>
                  <a:pt x="75" y="163"/>
                  <a:pt x="75" y="75"/>
                  <a:pt x="75" y="75"/>
                </a:cubicBezTo>
                <a:cubicBezTo>
                  <a:pt x="177" y="54"/>
                  <a:pt x="177" y="54"/>
                  <a:pt x="177" y="54"/>
                </a:cubicBezTo>
                <a:cubicBezTo>
                  <a:pt x="177" y="54"/>
                  <a:pt x="176" y="54"/>
                  <a:pt x="176" y="54"/>
                </a:cubicBezTo>
                <a:cubicBezTo>
                  <a:pt x="176" y="105"/>
                  <a:pt x="176" y="105"/>
                  <a:pt x="176" y="105"/>
                </a:cubicBezTo>
                <a:cubicBezTo>
                  <a:pt x="170" y="101"/>
                  <a:pt x="163" y="98"/>
                  <a:pt x="155" y="98"/>
                </a:cubicBezTo>
                <a:cubicBezTo>
                  <a:pt x="134" y="98"/>
                  <a:pt x="117" y="115"/>
                  <a:pt x="117" y="136"/>
                </a:cubicBezTo>
                <a:cubicBezTo>
                  <a:pt x="117" y="156"/>
                  <a:pt x="134" y="173"/>
                  <a:pt x="155" y="173"/>
                </a:cubicBezTo>
                <a:cubicBezTo>
                  <a:pt x="175" y="173"/>
                  <a:pt x="192" y="156"/>
                  <a:pt x="192" y="136"/>
                </a:cubicBezTo>
                <a:cubicBezTo>
                  <a:pt x="192" y="136"/>
                  <a:pt x="192" y="42"/>
                  <a:pt x="192" y="9"/>
                </a:cubicBezTo>
                <a:cubicBezTo>
                  <a:pt x="192" y="3"/>
                  <a:pt x="187" y="0"/>
                  <a:pt x="181" y="1"/>
                </a:cubicBezTo>
                <a:cubicBezTo>
                  <a:pt x="66" y="25"/>
                  <a:pt x="66" y="25"/>
                  <a:pt x="66" y="25"/>
                </a:cubicBezTo>
                <a:cubicBezTo>
                  <a:pt x="63" y="26"/>
                  <a:pt x="59" y="30"/>
                  <a:pt x="59" y="34"/>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36" name="Freeform 54"/>
          <p:cNvSpPr>
            <a:spLocks noEditPoints="1"/>
          </p:cNvSpPr>
          <p:nvPr userDrawn="1"/>
        </p:nvSpPr>
        <p:spPr bwMode="auto">
          <a:xfrm>
            <a:off x="8631084" y="5530316"/>
            <a:ext cx="903039" cy="866246"/>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37" name="Group 136"/>
          <p:cNvGrpSpPr/>
          <p:nvPr userDrawn="1"/>
        </p:nvGrpSpPr>
        <p:grpSpPr>
          <a:xfrm>
            <a:off x="3141276" y="3360174"/>
            <a:ext cx="612108" cy="607164"/>
            <a:chOff x="6916738" y="-1312863"/>
            <a:chExt cx="600075" cy="595313"/>
          </a:xfrm>
          <a:solidFill>
            <a:schemeClr val="bg1">
              <a:lumMod val="85000"/>
            </a:schemeClr>
          </a:solidFill>
        </p:grpSpPr>
        <p:sp>
          <p:nvSpPr>
            <p:cNvPr id="138" name="Freeform 58"/>
            <p:cNvSpPr>
              <a:spLocks noEditPoints="1"/>
            </p:cNvSpPr>
            <p:nvPr/>
          </p:nvSpPr>
          <p:spPr bwMode="auto">
            <a:xfrm>
              <a:off x="7046913" y="-1179513"/>
              <a:ext cx="339725" cy="333375"/>
            </a:xfrm>
            <a:custGeom>
              <a:avLst/>
              <a:gdLst>
                <a:gd name="T0" fmla="*/ 44 w 89"/>
                <a:gd name="T1" fmla="*/ 0 h 87"/>
                <a:gd name="T2" fmla="*/ 28 w 89"/>
                <a:gd name="T3" fmla="*/ 3 h 87"/>
                <a:gd name="T4" fmla="*/ 4 w 89"/>
                <a:gd name="T5" fmla="*/ 27 h 87"/>
                <a:gd name="T6" fmla="*/ 4 w 89"/>
                <a:gd name="T7" fmla="*/ 60 h 87"/>
                <a:gd name="T8" fmla="*/ 44 w 89"/>
                <a:gd name="T9" fmla="*/ 87 h 87"/>
                <a:gd name="T10" fmla="*/ 61 w 89"/>
                <a:gd name="T11" fmla="*/ 84 h 87"/>
                <a:gd name="T12" fmla="*/ 85 w 89"/>
                <a:gd name="T13" fmla="*/ 60 h 87"/>
                <a:gd name="T14" fmla="*/ 85 w 89"/>
                <a:gd name="T15" fmla="*/ 27 h 87"/>
                <a:gd name="T16" fmla="*/ 44 w 89"/>
                <a:gd name="T17" fmla="*/ 0 h 87"/>
                <a:gd name="T18" fmla="*/ 70 w 89"/>
                <a:gd name="T19" fmla="*/ 54 h 87"/>
                <a:gd name="T20" fmla="*/ 55 w 89"/>
                <a:gd name="T21" fmla="*/ 69 h 87"/>
                <a:gd name="T22" fmla="*/ 44 w 89"/>
                <a:gd name="T23" fmla="*/ 71 h 87"/>
                <a:gd name="T24" fmla="*/ 19 w 89"/>
                <a:gd name="T25" fmla="*/ 54 h 87"/>
                <a:gd name="T26" fmla="*/ 19 w 89"/>
                <a:gd name="T27" fmla="*/ 33 h 87"/>
                <a:gd name="T28" fmla="*/ 34 w 89"/>
                <a:gd name="T29" fmla="*/ 18 h 87"/>
                <a:gd name="T30" fmla="*/ 44 w 89"/>
                <a:gd name="T31" fmla="*/ 16 h 87"/>
                <a:gd name="T32" fmla="*/ 70 w 89"/>
                <a:gd name="T33" fmla="*/ 33 h 87"/>
                <a:gd name="T34" fmla="*/ 70 w 89"/>
                <a:gd name="T35"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87">
                  <a:moveTo>
                    <a:pt x="44" y="0"/>
                  </a:moveTo>
                  <a:cubicBezTo>
                    <a:pt x="39" y="0"/>
                    <a:pt x="33" y="1"/>
                    <a:pt x="28" y="3"/>
                  </a:cubicBezTo>
                  <a:cubicBezTo>
                    <a:pt x="17" y="8"/>
                    <a:pt x="9" y="16"/>
                    <a:pt x="4" y="27"/>
                  </a:cubicBezTo>
                  <a:cubicBezTo>
                    <a:pt x="0" y="38"/>
                    <a:pt x="0" y="49"/>
                    <a:pt x="4" y="60"/>
                  </a:cubicBezTo>
                  <a:cubicBezTo>
                    <a:pt x="11" y="76"/>
                    <a:pt x="27" y="87"/>
                    <a:pt x="44" y="87"/>
                  </a:cubicBezTo>
                  <a:cubicBezTo>
                    <a:pt x="50" y="87"/>
                    <a:pt x="56" y="86"/>
                    <a:pt x="61" y="84"/>
                  </a:cubicBezTo>
                  <a:cubicBezTo>
                    <a:pt x="72" y="79"/>
                    <a:pt x="80" y="71"/>
                    <a:pt x="85" y="60"/>
                  </a:cubicBezTo>
                  <a:cubicBezTo>
                    <a:pt x="89" y="49"/>
                    <a:pt x="89" y="38"/>
                    <a:pt x="85" y="27"/>
                  </a:cubicBezTo>
                  <a:cubicBezTo>
                    <a:pt x="78" y="10"/>
                    <a:pt x="62" y="0"/>
                    <a:pt x="44" y="0"/>
                  </a:cubicBezTo>
                  <a:close/>
                  <a:moveTo>
                    <a:pt x="70" y="54"/>
                  </a:moveTo>
                  <a:cubicBezTo>
                    <a:pt x="67" y="61"/>
                    <a:pt x="62" y="66"/>
                    <a:pt x="55" y="69"/>
                  </a:cubicBezTo>
                  <a:cubicBezTo>
                    <a:pt x="52" y="70"/>
                    <a:pt x="48" y="71"/>
                    <a:pt x="44" y="71"/>
                  </a:cubicBezTo>
                  <a:cubicBezTo>
                    <a:pt x="33" y="71"/>
                    <a:pt x="23" y="64"/>
                    <a:pt x="19" y="54"/>
                  </a:cubicBezTo>
                  <a:cubicBezTo>
                    <a:pt x="16" y="47"/>
                    <a:pt x="16" y="40"/>
                    <a:pt x="19" y="33"/>
                  </a:cubicBezTo>
                  <a:cubicBezTo>
                    <a:pt x="22" y="26"/>
                    <a:pt x="27" y="21"/>
                    <a:pt x="34" y="18"/>
                  </a:cubicBezTo>
                  <a:cubicBezTo>
                    <a:pt x="37" y="17"/>
                    <a:pt x="41" y="16"/>
                    <a:pt x="44" y="16"/>
                  </a:cubicBezTo>
                  <a:cubicBezTo>
                    <a:pt x="56" y="16"/>
                    <a:pt x="66" y="23"/>
                    <a:pt x="70" y="33"/>
                  </a:cubicBezTo>
                  <a:cubicBezTo>
                    <a:pt x="73" y="40"/>
                    <a:pt x="73" y="47"/>
                    <a:pt x="70" y="5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39" name="Freeform 59"/>
            <p:cNvSpPr>
              <a:spLocks/>
            </p:cNvSpPr>
            <p:nvPr/>
          </p:nvSpPr>
          <p:spPr bwMode="auto">
            <a:xfrm>
              <a:off x="7073900" y="-1312863"/>
              <a:ext cx="84138" cy="114300"/>
            </a:xfrm>
            <a:custGeom>
              <a:avLst/>
              <a:gdLst>
                <a:gd name="T0" fmla="*/ 8 w 22"/>
                <a:gd name="T1" fmla="*/ 26 h 30"/>
                <a:gd name="T2" fmla="*/ 15 w 22"/>
                <a:gd name="T3" fmla="*/ 30 h 30"/>
                <a:gd name="T4" fmla="*/ 17 w 22"/>
                <a:gd name="T5" fmla="*/ 30 h 30"/>
                <a:gd name="T6" fmla="*/ 21 w 22"/>
                <a:gd name="T7" fmla="*/ 21 h 30"/>
                <a:gd name="T8" fmla="*/ 14 w 22"/>
                <a:gd name="T9" fmla="*/ 5 h 30"/>
                <a:gd name="T10" fmla="*/ 5 w 22"/>
                <a:gd name="T11" fmla="*/ 1 h 30"/>
                <a:gd name="T12" fmla="*/ 2 w 22"/>
                <a:gd name="T13" fmla="*/ 10 h 30"/>
                <a:gd name="T14" fmla="*/ 8 w 22"/>
                <a:gd name="T15" fmla="*/ 26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0">
                  <a:moveTo>
                    <a:pt x="8" y="26"/>
                  </a:moveTo>
                  <a:cubicBezTo>
                    <a:pt x="9" y="28"/>
                    <a:pt x="12" y="30"/>
                    <a:pt x="15" y="30"/>
                  </a:cubicBezTo>
                  <a:cubicBezTo>
                    <a:pt x="15" y="30"/>
                    <a:pt x="16" y="30"/>
                    <a:pt x="17" y="30"/>
                  </a:cubicBezTo>
                  <a:cubicBezTo>
                    <a:pt x="21" y="28"/>
                    <a:pt x="22" y="24"/>
                    <a:pt x="21" y="21"/>
                  </a:cubicBezTo>
                  <a:cubicBezTo>
                    <a:pt x="14" y="5"/>
                    <a:pt x="14" y="5"/>
                    <a:pt x="14" y="5"/>
                  </a:cubicBezTo>
                  <a:cubicBezTo>
                    <a:pt x="13" y="2"/>
                    <a:pt x="9" y="0"/>
                    <a:pt x="5" y="1"/>
                  </a:cubicBezTo>
                  <a:cubicBezTo>
                    <a:pt x="2" y="3"/>
                    <a:pt x="0" y="7"/>
                    <a:pt x="2" y="10"/>
                  </a:cubicBezTo>
                  <a:lnTo>
                    <a:pt x="8" y="2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40" name="Freeform 60"/>
            <p:cNvSpPr>
              <a:spLocks/>
            </p:cNvSpPr>
            <p:nvPr/>
          </p:nvSpPr>
          <p:spPr bwMode="auto">
            <a:xfrm>
              <a:off x="7275513" y="-831850"/>
              <a:ext cx="80963" cy="114300"/>
            </a:xfrm>
            <a:custGeom>
              <a:avLst/>
              <a:gdLst>
                <a:gd name="T0" fmla="*/ 13 w 21"/>
                <a:gd name="T1" fmla="*/ 5 h 30"/>
                <a:gd name="T2" fmla="*/ 5 w 21"/>
                <a:gd name="T3" fmla="*/ 1 h 30"/>
                <a:gd name="T4" fmla="*/ 1 w 21"/>
                <a:gd name="T5" fmla="*/ 10 h 30"/>
                <a:gd name="T6" fmla="*/ 7 w 21"/>
                <a:gd name="T7" fmla="*/ 26 h 30"/>
                <a:gd name="T8" fmla="*/ 14 w 21"/>
                <a:gd name="T9" fmla="*/ 30 h 30"/>
                <a:gd name="T10" fmla="*/ 16 w 21"/>
                <a:gd name="T11" fmla="*/ 29 h 30"/>
                <a:gd name="T12" fmla="*/ 20 w 21"/>
                <a:gd name="T13" fmla="*/ 21 h 30"/>
                <a:gd name="T14" fmla="*/ 13 w 21"/>
                <a:gd name="T15" fmla="*/ 5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0">
                  <a:moveTo>
                    <a:pt x="13" y="5"/>
                  </a:moveTo>
                  <a:cubicBezTo>
                    <a:pt x="12" y="2"/>
                    <a:pt x="8" y="0"/>
                    <a:pt x="5" y="1"/>
                  </a:cubicBezTo>
                  <a:cubicBezTo>
                    <a:pt x="1" y="3"/>
                    <a:pt x="0" y="7"/>
                    <a:pt x="1" y="10"/>
                  </a:cubicBezTo>
                  <a:cubicBezTo>
                    <a:pt x="7" y="26"/>
                    <a:pt x="7" y="26"/>
                    <a:pt x="7" y="26"/>
                  </a:cubicBezTo>
                  <a:cubicBezTo>
                    <a:pt x="9" y="28"/>
                    <a:pt x="11" y="30"/>
                    <a:pt x="14" y="30"/>
                  </a:cubicBezTo>
                  <a:cubicBezTo>
                    <a:pt x="15" y="30"/>
                    <a:pt x="15" y="30"/>
                    <a:pt x="16" y="29"/>
                  </a:cubicBezTo>
                  <a:cubicBezTo>
                    <a:pt x="20" y="28"/>
                    <a:pt x="21" y="24"/>
                    <a:pt x="20" y="21"/>
                  </a:cubicBezTo>
                  <a:lnTo>
                    <a:pt x="13" y="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41" name="Freeform 61"/>
            <p:cNvSpPr>
              <a:spLocks/>
            </p:cNvSpPr>
            <p:nvPr/>
          </p:nvSpPr>
          <p:spPr bwMode="auto">
            <a:xfrm>
              <a:off x="6916738" y="-954088"/>
              <a:ext cx="119063" cy="80963"/>
            </a:xfrm>
            <a:custGeom>
              <a:avLst/>
              <a:gdLst>
                <a:gd name="T0" fmla="*/ 21 w 31"/>
                <a:gd name="T1" fmla="*/ 1 h 21"/>
                <a:gd name="T2" fmla="*/ 5 w 31"/>
                <a:gd name="T3" fmla="*/ 8 h 21"/>
                <a:gd name="T4" fmla="*/ 1 w 31"/>
                <a:gd name="T5" fmla="*/ 16 h 21"/>
                <a:gd name="T6" fmla="*/ 8 w 31"/>
                <a:gd name="T7" fmla="*/ 21 h 21"/>
                <a:gd name="T8" fmla="*/ 10 w 31"/>
                <a:gd name="T9" fmla="*/ 20 h 21"/>
                <a:gd name="T10" fmla="*/ 26 w 31"/>
                <a:gd name="T11" fmla="*/ 14 h 21"/>
                <a:gd name="T12" fmla="*/ 29 w 31"/>
                <a:gd name="T13" fmla="*/ 5 h 21"/>
                <a:gd name="T14" fmla="*/ 21 w 31"/>
                <a:gd name="T15" fmla="*/ 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1">
                  <a:moveTo>
                    <a:pt x="21" y="1"/>
                  </a:moveTo>
                  <a:cubicBezTo>
                    <a:pt x="5" y="8"/>
                    <a:pt x="5" y="8"/>
                    <a:pt x="5" y="8"/>
                  </a:cubicBezTo>
                  <a:cubicBezTo>
                    <a:pt x="2" y="9"/>
                    <a:pt x="0" y="13"/>
                    <a:pt x="1" y="16"/>
                  </a:cubicBezTo>
                  <a:cubicBezTo>
                    <a:pt x="2" y="19"/>
                    <a:pt x="5" y="21"/>
                    <a:pt x="8" y="21"/>
                  </a:cubicBezTo>
                  <a:cubicBezTo>
                    <a:pt x="8" y="21"/>
                    <a:pt x="9" y="20"/>
                    <a:pt x="10" y="20"/>
                  </a:cubicBezTo>
                  <a:cubicBezTo>
                    <a:pt x="26" y="14"/>
                    <a:pt x="26" y="14"/>
                    <a:pt x="26" y="14"/>
                  </a:cubicBezTo>
                  <a:cubicBezTo>
                    <a:pt x="29" y="12"/>
                    <a:pt x="31" y="8"/>
                    <a:pt x="29" y="5"/>
                  </a:cubicBezTo>
                  <a:cubicBezTo>
                    <a:pt x="28" y="1"/>
                    <a:pt x="24" y="0"/>
                    <a:pt x="21" y="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42" name="Freeform 62"/>
            <p:cNvSpPr>
              <a:spLocks/>
            </p:cNvSpPr>
            <p:nvPr/>
          </p:nvSpPr>
          <p:spPr bwMode="auto">
            <a:xfrm>
              <a:off x="7397750" y="-1152525"/>
              <a:ext cx="119063" cy="76200"/>
            </a:xfrm>
            <a:custGeom>
              <a:avLst/>
              <a:gdLst>
                <a:gd name="T0" fmla="*/ 8 w 31"/>
                <a:gd name="T1" fmla="*/ 20 h 20"/>
                <a:gd name="T2" fmla="*/ 10 w 31"/>
                <a:gd name="T3" fmla="*/ 20 h 20"/>
                <a:gd name="T4" fmla="*/ 26 w 31"/>
                <a:gd name="T5" fmla="*/ 13 h 20"/>
                <a:gd name="T6" fmla="*/ 29 w 31"/>
                <a:gd name="T7" fmla="*/ 5 h 20"/>
                <a:gd name="T8" fmla="*/ 21 w 31"/>
                <a:gd name="T9" fmla="*/ 1 h 20"/>
                <a:gd name="T10" fmla="*/ 5 w 31"/>
                <a:gd name="T11" fmla="*/ 7 h 20"/>
                <a:gd name="T12" fmla="*/ 1 w 31"/>
                <a:gd name="T13" fmla="*/ 16 h 20"/>
                <a:gd name="T14" fmla="*/ 8 w 31"/>
                <a:gd name="T15" fmla="*/ 2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0">
                  <a:moveTo>
                    <a:pt x="8" y="20"/>
                  </a:moveTo>
                  <a:cubicBezTo>
                    <a:pt x="8" y="20"/>
                    <a:pt x="9" y="20"/>
                    <a:pt x="10" y="20"/>
                  </a:cubicBezTo>
                  <a:cubicBezTo>
                    <a:pt x="26" y="13"/>
                    <a:pt x="26" y="13"/>
                    <a:pt x="26" y="13"/>
                  </a:cubicBezTo>
                  <a:cubicBezTo>
                    <a:pt x="29" y="12"/>
                    <a:pt x="31" y="8"/>
                    <a:pt x="29" y="5"/>
                  </a:cubicBezTo>
                  <a:cubicBezTo>
                    <a:pt x="28" y="1"/>
                    <a:pt x="24" y="0"/>
                    <a:pt x="21" y="1"/>
                  </a:cubicBezTo>
                  <a:cubicBezTo>
                    <a:pt x="5" y="7"/>
                    <a:pt x="5" y="7"/>
                    <a:pt x="5" y="7"/>
                  </a:cubicBezTo>
                  <a:cubicBezTo>
                    <a:pt x="2" y="9"/>
                    <a:pt x="0" y="13"/>
                    <a:pt x="1" y="16"/>
                  </a:cubicBezTo>
                  <a:cubicBezTo>
                    <a:pt x="2" y="19"/>
                    <a:pt x="5" y="20"/>
                    <a:pt x="8" y="2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43" name="Freeform 63"/>
            <p:cNvSpPr>
              <a:spLocks/>
            </p:cNvSpPr>
            <p:nvPr/>
          </p:nvSpPr>
          <p:spPr bwMode="auto">
            <a:xfrm>
              <a:off x="6916738" y="-1152525"/>
              <a:ext cx="119063" cy="76200"/>
            </a:xfrm>
            <a:custGeom>
              <a:avLst/>
              <a:gdLst>
                <a:gd name="T0" fmla="*/ 26 w 31"/>
                <a:gd name="T1" fmla="*/ 7 h 20"/>
                <a:gd name="T2" fmla="*/ 10 w 31"/>
                <a:gd name="T3" fmla="*/ 1 h 20"/>
                <a:gd name="T4" fmla="*/ 1 w 31"/>
                <a:gd name="T5" fmla="*/ 5 h 20"/>
                <a:gd name="T6" fmla="*/ 5 w 31"/>
                <a:gd name="T7" fmla="*/ 13 h 20"/>
                <a:gd name="T8" fmla="*/ 21 w 31"/>
                <a:gd name="T9" fmla="*/ 20 h 20"/>
                <a:gd name="T10" fmla="*/ 23 w 31"/>
                <a:gd name="T11" fmla="*/ 20 h 20"/>
                <a:gd name="T12" fmla="*/ 29 w 31"/>
                <a:gd name="T13" fmla="*/ 16 h 20"/>
                <a:gd name="T14" fmla="*/ 26 w 31"/>
                <a:gd name="T15" fmla="*/ 7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0">
                  <a:moveTo>
                    <a:pt x="26" y="7"/>
                  </a:moveTo>
                  <a:cubicBezTo>
                    <a:pt x="10" y="1"/>
                    <a:pt x="10" y="1"/>
                    <a:pt x="10" y="1"/>
                  </a:cubicBezTo>
                  <a:cubicBezTo>
                    <a:pt x="7" y="0"/>
                    <a:pt x="3" y="1"/>
                    <a:pt x="1" y="5"/>
                  </a:cubicBezTo>
                  <a:cubicBezTo>
                    <a:pt x="0" y="8"/>
                    <a:pt x="2" y="12"/>
                    <a:pt x="5" y="13"/>
                  </a:cubicBezTo>
                  <a:cubicBezTo>
                    <a:pt x="21" y="20"/>
                    <a:pt x="21" y="20"/>
                    <a:pt x="21" y="20"/>
                  </a:cubicBezTo>
                  <a:cubicBezTo>
                    <a:pt x="21" y="20"/>
                    <a:pt x="22" y="20"/>
                    <a:pt x="23" y="20"/>
                  </a:cubicBezTo>
                  <a:cubicBezTo>
                    <a:pt x="26" y="20"/>
                    <a:pt x="28" y="19"/>
                    <a:pt x="29" y="16"/>
                  </a:cubicBezTo>
                  <a:cubicBezTo>
                    <a:pt x="31" y="13"/>
                    <a:pt x="29" y="9"/>
                    <a:pt x="26" y="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44" name="Freeform 64"/>
            <p:cNvSpPr>
              <a:spLocks/>
            </p:cNvSpPr>
            <p:nvPr/>
          </p:nvSpPr>
          <p:spPr bwMode="auto">
            <a:xfrm>
              <a:off x="7397750" y="-954088"/>
              <a:ext cx="119063" cy="76200"/>
            </a:xfrm>
            <a:custGeom>
              <a:avLst/>
              <a:gdLst>
                <a:gd name="T0" fmla="*/ 26 w 31"/>
                <a:gd name="T1" fmla="*/ 8 h 20"/>
                <a:gd name="T2" fmla="*/ 10 w 31"/>
                <a:gd name="T3" fmla="*/ 1 h 20"/>
                <a:gd name="T4" fmla="*/ 1 w 31"/>
                <a:gd name="T5" fmla="*/ 5 h 20"/>
                <a:gd name="T6" fmla="*/ 5 w 31"/>
                <a:gd name="T7" fmla="*/ 14 h 20"/>
                <a:gd name="T8" fmla="*/ 21 w 31"/>
                <a:gd name="T9" fmla="*/ 20 h 20"/>
                <a:gd name="T10" fmla="*/ 23 w 31"/>
                <a:gd name="T11" fmla="*/ 20 h 20"/>
                <a:gd name="T12" fmla="*/ 29 w 31"/>
                <a:gd name="T13" fmla="*/ 16 h 20"/>
                <a:gd name="T14" fmla="*/ 26 w 31"/>
                <a:gd name="T15" fmla="*/ 8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0">
                  <a:moveTo>
                    <a:pt x="26" y="8"/>
                  </a:moveTo>
                  <a:cubicBezTo>
                    <a:pt x="10" y="1"/>
                    <a:pt x="10" y="1"/>
                    <a:pt x="10" y="1"/>
                  </a:cubicBezTo>
                  <a:cubicBezTo>
                    <a:pt x="7" y="0"/>
                    <a:pt x="3" y="1"/>
                    <a:pt x="1" y="5"/>
                  </a:cubicBezTo>
                  <a:cubicBezTo>
                    <a:pt x="0" y="8"/>
                    <a:pt x="2" y="12"/>
                    <a:pt x="5" y="14"/>
                  </a:cubicBezTo>
                  <a:cubicBezTo>
                    <a:pt x="21" y="20"/>
                    <a:pt x="21" y="20"/>
                    <a:pt x="21" y="20"/>
                  </a:cubicBezTo>
                  <a:cubicBezTo>
                    <a:pt x="21" y="20"/>
                    <a:pt x="22" y="20"/>
                    <a:pt x="23" y="20"/>
                  </a:cubicBezTo>
                  <a:cubicBezTo>
                    <a:pt x="26" y="20"/>
                    <a:pt x="28" y="19"/>
                    <a:pt x="29" y="16"/>
                  </a:cubicBezTo>
                  <a:cubicBezTo>
                    <a:pt x="31" y="13"/>
                    <a:pt x="29" y="9"/>
                    <a:pt x="26" y="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45" name="Freeform 65"/>
            <p:cNvSpPr>
              <a:spLocks/>
            </p:cNvSpPr>
            <p:nvPr/>
          </p:nvSpPr>
          <p:spPr bwMode="auto">
            <a:xfrm>
              <a:off x="7073900" y="-831850"/>
              <a:ext cx="84138" cy="114300"/>
            </a:xfrm>
            <a:custGeom>
              <a:avLst/>
              <a:gdLst>
                <a:gd name="T0" fmla="*/ 17 w 22"/>
                <a:gd name="T1" fmla="*/ 1 h 30"/>
                <a:gd name="T2" fmla="*/ 8 w 22"/>
                <a:gd name="T3" fmla="*/ 5 h 30"/>
                <a:gd name="T4" fmla="*/ 2 w 22"/>
                <a:gd name="T5" fmla="*/ 21 h 30"/>
                <a:gd name="T6" fmla="*/ 5 w 22"/>
                <a:gd name="T7" fmla="*/ 29 h 30"/>
                <a:gd name="T8" fmla="*/ 8 w 22"/>
                <a:gd name="T9" fmla="*/ 30 h 30"/>
                <a:gd name="T10" fmla="*/ 14 w 22"/>
                <a:gd name="T11" fmla="*/ 26 h 30"/>
                <a:gd name="T12" fmla="*/ 21 w 22"/>
                <a:gd name="T13" fmla="*/ 10 h 30"/>
                <a:gd name="T14" fmla="*/ 17 w 22"/>
                <a:gd name="T15" fmla="*/ 1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0">
                  <a:moveTo>
                    <a:pt x="17" y="1"/>
                  </a:moveTo>
                  <a:cubicBezTo>
                    <a:pt x="14" y="0"/>
                    <a:pt x="10" y="2"/>
                    <a:pt x="8" y="5"/>
                  </a:cubicBezTo>
                  <a:cubicBezTo>
                    <a:pt x="2" y="21"/>
                    <a:pt x="2" y="21"/>
                    <a:pt x="2" y="21"/>
                  </a:cubicBezTo>
                  <a:cubicBezTo>
                    <a:pt x="0" y="24"/>
                    <a:pt x="2" y="28"/>
                    <a:pt x="5" y="29"/>
                  </a:cubicBezTo>
                  <a:cubicBezTo>
                    <a:pt x="6" y="30"/>
                    <a:pt x="7" y="30"/>
                    <a:pt x="8" y="30"/>
                  </a:cubicBezTo>
                  <a:cubicBezTo>
                    <a:pt x="11" y="30"/>
                    <a:pt x="13" y="28"/>
                    <a:pt x="14" y="26"/>
                  </a:cubicBezTo>
                  <a:cubicBezTo>
                    <a:pt x="21" y="10"/>
                    <a:pt x="21" y="10"/>
                    <a:pt x="21" y="10"/>
                  </a:cubicBezTo>
                  <a:cubicBezTo>
                    <a:pt x="22" y="7"/>
                    <a:pt x="21" y="3"/>
                    <a:pt x="17" y="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46" name="Freeform 66"/>
            <p:cNvSpPr>
              <a:spLocks/>
            </p:cNvSpPr>
            <p:nvPr/>
          </p:nvSpPr>
          <p:spPr bwMode="auto">
            <a:xfrm>
              <a:off x="7275513" y="-1312863"/>
              <a:ext cx="80963" cy="114300"/>
            </a:xfrm>
            <a:custGeom>
              <a:avLst/>
              <a:gdLst>
                <a:gd name="T0" fmla="*/ 5 w 21"/>
                <a:gd name="T1" fmla="*/ 30 h 30"/>
                <a:gd name="T2" fmla="*/ 7 w 21"/>
                <a:gd name="T3" fmla="*/ 30 h 30"/>
                <a:gd name="T4" fmla="*/ 13 w 21"/>
                <a:gd name="T5" fmla="*/ 26 h 30"/>
                <a:gd name="T6" fmla="*/ 20 w 21"/>
                <a:gd name="T7" fmla="*/ 10 h 30"/>
                <a:gd name="T8" fmla="*/ 16 w 21"/>
                <a:gd name="T9" fmla="*/ 1 h 30"/>
                <a:gd name="T10" fmla="*/ 7 w 21"/>
                <a:gd name="T11" fmla="*/ 5 h 30"/>
                <a:gd name="T12" fmla="*/ 1 w 21"/>
                <a:gd name="T13" fmla="*/ 21 h 30"/>
                <a:gd name="T14" fmla="*/ 5 w 21"/>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0">
                  <a:moveTo>
                    <a:pt x="5" y="30"/>
                  </a:moveTo>
                  <a:cubicBezTo>
                    <a:pt x="5" y="30"/>
                    <a:pt x="6" y="30"/>
                    <a:pt x="7" y="30"/>
                  </a:cubicBezTo>
                  <a:cubicBezTo>
                    <a:pt x="10" y="30"/>
                    <a:pt x="12" y="28"/>
                    <a:pt x="13" y="26"/>
                  </a:cubicBezTo>
                  <a:cubicBezTo>
                    <a:pt x="20" y="10"/>
                    <a:pt x="20" y="10"/>
                    <a:pt x="20" y="10"/>
                  </a:cubicBezTo>
                  <a:cubicBezTo>
                    <a:pt x="21" y="7"/>
                    <a:pt x="20" y="3"/>
                    <a:pt x="16" y="1"/>
                  </a:cubicBezTo>
                  <a:cubicBezTo>
                    <a:pt x="13" y="0"/>
                    <a:pt x="9" y="2"/>
                    <a:pt x="7" y="5"/>
                  </a:cubicBezTo>
                  <a:cubicBezTo>
                    <a:pt x="1" y="21"/>
                    <a:pt x="1" y="21"/>
                    <a:pt x="1" y="21"/>
                  </a:cubicBezTo>
                  <a:cubicBezTo>
                    <a:pt x="0" y="24"/>
                    <a:pt x="1" y="28"/>
                    <a:pt x="5" y="3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47" name="Freeform 70"/>
          <p:cNvSpPr>
            <a:spLocks/>
          </p:cNvSpPr>
          <p:nvPr userDrawn="1"/>
        </p:nvSpPr>
        <p:spPr bwMode="auto">
          <a:xfrm>
            <a:off x="8832740" y="141407"/>
            <a:ext cx="329549" cy="428230"/>
          </a:xfrm>
          <a:custGeom>
            <a:avLst/>
            <a:gdLst>
              <a:gd name="T0" fmla="*/ 73 w 110"/>
              <a:gd name="T1" fmla="*/ 6 h 144"/>
              <a:gd name="T2" fmla="*/ 70 w 110"/>
              <a:gd name="T3" fmla="*/ 0 h 144"/>
              <a:gd name="T4" fmla="*/ 12 w 110"/>
              <a:gd name="T5" fmla="*/ 0 h 144"/>
              <a:gd name="T6" fmla="*/ 6 w 110"/>
              <a:gd name="T7" fmla="*/ 6 h 144"/>
              <a:gd name="T8" fmla="*/ 0 w 110"/>
              <a:gd name="T9" fmla="*/ 69 h 144"/>
              <a:gd name="T10" fmla="*/ 5 w 110"/>
              <a:gd name="T11" fmla="*/ 75 h 144"/>
              <a:gd name="T12" fmla="*/ 40 w 110"/>
              <a:gd name="T13" fmla="*/ 75 h 144"/>
              <a:gd name="T14" fmla="*/ 16 w 110"/>
              <a:gd name="T15" fmla="*/ 136 h 144"/>
              <a:gd name="T16" fmla="*/ 21 w 110"/>
              <a:gd name="T17" fmla="*/ 140 h 144"/>
              <a:gd name="T18" fmla="*/ 108 w 110"/>
              <a:gd name="T19" fmla="*/ 57 h 144"/>
              <a:gd name="T20" fmla="*/ 107 w 110"/>
              <a:gd name="T21" fmla="*/ 53 h 144"/>
              <a:gd name="T22" fmla="*/ 54 w 110"/>
              <a:gd name="T23" fmla="*/ 53 h 144"/>
              <a:gd name="T24" fmla="*/ 73 w 110"/>
              <a:gd name="T25"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44">
                <a:moveTo>
                  <a:pt x="73" y="6"/>
                </a:moveTo>
                <a:cubicBezTo>
                  <a:pt x="75" y="2"/>
                  <a:pt x="73" y="0"/>
                  <a:pt x="70" y="0"/>
                </a:cubicBezTo>
                <a:cubicBezTo>
                  <a:pt x="12" y="0"/>
                  <a:pt x="12" y="0"/>
                  <a:pt x="12" y="0"/>
                </a:cubicBezTo>
                <a:cubicBezTo>
                  <a:pt x="9" y="0"/>
                  <a:pt x="6" y="3"/>
                  <a:pt x="6" y="6"/>
                </a:cubicBezTo>
                <a:cubicBezTo>
                  <a:pt x="0" y="69"/>
                  <a:pt x="0" y="69"/>
                  <a:pt x="0" y="69"/>
                </a:cubicBezTo>
                <a:cubicBezTo>
                  <a:pt x="0" y="73"/>
                  <a:pt x="2" y="75"/>
                  <a:pt x="5" y="75"/>
                </a:cubicBezTo>
                <a:cubicBezTo>
                  <a:pt x="40" y="75"/>
                  <a:pt x="40" y="75"/>
                  <a:pt x="40" y="75"/>
                </a:cubicBezTo>
                <a:cubicBezTo>
                  <a:pt x="16" y="136"/>
                  <a:pt x="16" y="136"/>
                  <a:pt x="16" y="136"/>
                </a:cubicBezTo>
                <a:cubicBezTo>
                  <a:pt x="14" y="143"/>
                  <a:pt x="16" y="144"/>
                  <a:pt x="21" y="140"/>
                </a:cubicBezTo>
                <a:cubicBezTo>
                  <a:pt x="108" y="57"/>
                  <a:pt x="108" y="57"/>
                  <a:pt x="108" y="57"/>
                </a:cubicBezTo>
                <a:cubicBezTo>
                  <a:pt x="110" y="54"/>
                  <a:pt x="110" y="53"/>
                  <a:pt x="107" y="53"/>
                </a:cubicBezTo>
                <a:cubicBezTo>
                  <a:pt x="54" y="53"/>
                  <a:pt x="54" y="53"/>
                  <a:pt x="54" y="53"/>
                </a:cubicBezTo>
                <a:lnTo>
                  <a:pt x="73" y="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48" name="Group 147"/>
          <p:cNvGrpSpPr/>
          <p:nvPr userDrawn="1"/>
        </p:nvGrpSpPr>
        <p:grpSpPr>
          <a:xfrm>
            <a:off x="8468189" y="664875"/>
            <a:ext cx="374878" cy="589186"/>
            <a:chOff x="5916613" y="-1050925"/>
            <a:chExt cx="611187" cy="1004887"/>
          </a:xfrm>
          <a:solidFill>
            <a:schemeClr val="bg1">
              <a:lumMod val="85000"/>
            </a:schemeClr>
          </a:solidFill>
        </p:grpSpPr>
        <p:sp>
          <p:nvSpPr>
            <p:cNvPr id="149" name="Freeform 74"/>
            <p:cNvSpPr>
              <a:spLocks/>
            </p:cNvSpPr>
            <p:nvPr/>
          </p:nvSpPr>
          <p:spPr bwMode="auto">
            <a:xfrm>
              <a:off x="6037263" y="-812800"/>
              <a:ext cx="369887" cy="647700"/>
            </a:xfrm>
            <a:custGeom>
              <a:avLst/>
              <a:gdLst>
                <a:gd name="T0" fmla="*/ 35 w 58"/>
                <a:gd name="T1" fmla="*/ 45 h 103"/>
                <a:gd name="T2" fmla="*/ 35 w 58"/>
                <a:gd name="T3" fmla="*/ 0 h 103"/>
                <a:gd name="T4" fmla="*/ 23 w 58"/>
                <a:gd name="T5" fmla="*/ 0 h 103"/>
                <a:gd name="T6" fmla="*/ 23 w 58"/>
                <a:gd name="T7" fmla="*/ 45 h 103"/>
                <a:gd name="T8" fmla="*/ 0 w 58"/>
                <a:gd name="T9" fmla="*/ 74 h 103"/>
                <a:gd name="T10" fmla="*/ 29 w 58"/>
                <a:gd name="T11" fmla="*/ 103 h 103"/>
                <a:gd name="T12" fmla="*/ 58 w 58"/>
                <a:gd name="T13" fmla="*/ 74 h 103"/>
                <a:gd name="T14" fmla="*/ 35 w 58"/>
                <a:gd name="T15" fmla="*/ 45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03">
                  <a:moveTo>
                    <a:pt x="35" y="45"/>
                  </a:moveTo>
                  <a:cubicBezTo>
                    <a:pt x="35" y="0"/>
                    <a:pt x="35" y="0"/>
                    <a:pt x="35" y="0"/>
                  </a:cubicBezTo>
                  <a:cubicBezTo>
                    <a:pt x="23" y="0"/>
                    <a:pt x="23" y="0"/>
                    <a:pt x="23" y="0"/>
                  </a:cubicBezTo>
                  <a:cubicBezTo>
                    <a:pt x="23" y="45"/>
                    <a:pt x="23" y="45"/>
                    <a:pt x="23" y="45"/>
                  </a:cubicBezTo>
                  <a:cubicBezTo>
                    <a:pt x="10" y="48"/>
                    <a:pt x="0" y="60"/>
                    <a:pt x="0" y="74"/>
                  </a:cubicBezTo>
                  <a:cubicBezTo>
                    <a:pt x="0" y="90"/>
                    <a:pt x="13" y="103"/>
                    <a:pt x="29" y="103"/>
                  </a:cubicBezTo>
                  <a:cubicBezTo>
                    <a:pt x="45" y="103"/>
                    <a:pt x="58" y="90"/>
                    <a:pt x="58" y="74"/>
                  </a:cubicBezTo>
                  <a:cubicBezTo>
                    <a:pt x="58" y="60"/>
                    <a:pt x="48" y="48"/>
                    <a:pt x="35" y="4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50" name="Freeform 75"/>
            <p:cNvSpPr>
              <a:spLocks noEditPoints="1"/>
            </p:cNvSpPr>
            <p:nvPr/>
          </p:nvSpPr>
          <p:spPr bwMode="auto">
            <a:xfrm>
              <a:off x="5916613" y="-1050925"/>
              <a:ext cx="611187" cy="1004887"/>
            </a:xfrm>
            <a:custGeom>
              <a:avLst/>
              <a:gdLst>
                <a:gd name="T0" fmla="*/ 71 w 96"/>
                <a:gd name="T1" fmla="*/ 69 h 160"/>
                <a:gd name="T2" fmla="*/ 71 w 96"/>
                <a:gd name="T3" fmla="*/ 60 h 160"/>
                <a:gd name="T4" fmla="*/ 79 w 96"/>
                <a:gd name="T5" fmla="*/ 60 h 160"/>
                <a:gd name="T6" fmla="*/ 79 w 96"/>
                <a:gd name="T7" fmla="*/ 52 h 160"/>
                <a:gd name="T8" fmla="*/ 71 w 96"/>
                <a:gd name="T9" fmla="*/ 52 h 160"/>
                <a:gd name="T10" fmla="*/ 71 w 96"/>
                <a:gd name="T11" fmla="*/ 40 h 160"/>
                <a:gd name="T12" fmla="*/ 79 w 96"/>
                <a:gd name="T13" fmla="*/ 40 h 160"/>
                <a:gd name="T14" fmla="*/ 79 w 96"/>
                <a:gd name="T15" fmla="*/ 31 h 160"/>
                <a:gd name="T16" fmla="*/ 71 w 96"/>
                <a:gd name="T17" fmla="*/ 31 h 160"/>
                <a:gd name="T18" fmla="*/ 71 w 96"/>
                <a:gd name="T19" fmla="*/ 23 h 160"/>
                <a:gd name="T20" fmla="*/ 48 w 96"/>
                <a:gd name="T21" fmla="*/ 0 h 160"/>
                <a:gd name="T22" fmla="*/ 25 w 96"/>
                <a:gd name="T23" fmla="*/ 23 h 160"/>
                <a:gd name="T24" fmla="*/ 25 w 96"/>
                <a:gd name="T25" fmla="*/ 69 h 160"/>
                <a:gd name="T26" fmla="*/ 0 w 96"/>
                <a:gd name="T27" fmla="*/ 112 h 160"/>
                <a:gd name="T28" fmla="*/ 48 w 96"/>
                <a:gd name="T29" fmla="*/ 160 h 160"/>
                <a:gd name="T30" fmla="*/ 96 w 96"/>
                <a:gd name="T31" fmla="*/ 112 h 160"/>
                <a:gd name="T32" fmla="*/ 71 w 96"/>
                <a:gd name="T33" fmla="*/ 69 h 160"/>
                <a:gd name="T34" fmla="*/ 48 w 96"/>
                <a:gd name="T35" fmla="*/ 148 h 160"/>
                <a:gd name="T36" fmla="*/ 12 w 96"/>
                <a:gd name="T37" fmla="*/ 112 h 160"/>
                <a:gd name="T38" fmla="*/ 33 w 96"/>
                <a:gd name="T39" fmla="*/ 79 h 160"/>
                <a:gd name="T40" fmla="*/ 37 w 96"/>
                <a:gd name="T41" fmla="*/ 77 h 160"/>
                <a:gd name="T42" fmla="*/ 37 w 96"/>
                <a:gd name="T43" fmla="*/ 23 h 160"/>
                <a:gd name="T44" fmla="*/ 48 w 96"/>
                <a:gd name="T45" fmla="*/ 12 h 160"/>
                <a:gd name="T46" fmla="*/ 59 w 96"/>
                <a:gd name="T47" fmla="*/ 23 h 160"/>
                <a:gd name="T48" fmla="*/ 59 w 96"/>
                <a:gd name="T49" fmla="*/ 77 h 160"/>
                <a:gd name="T50" fmla="*/ 63 w 96"/>
                <a:gd name="T51" fmla="*/ 79 h 160"/>
                <a:gd name="T52" fmla="*/ 84 w 96"/>
                <a:gd name="T53" fmla="*/ 112 h 160"/>
                <a:gd name="T54" fmla="*/ 48 w 96"/>
                <a:gd name="T55" fmla="*/ 14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160">
                  <a:moveTo>
                    <a:pt x="71" y="69"/>
                  </a:moveTo>
                  <a:cubicBezTo>
                    <a:pt x="71" y="60"/>
                    <a:pt x="71" y="60"/>
                    <a:pt x="71" y="60"/>
                  </a:cubicBezTo>
                  <a:cubicBezTo>
                    <a:pt x="79" y="60"/>
                    <a:pt x="79" y="60"/>
                    <a:pt x="79" y="60"/>
                  </a:cubicBezTo>
                  <a:cubicBezTo>
                    <a:pt x="79" y="52"/>
                    <a:pt x="79" y="52"/>
                    <a:pt x="79" y="52"/>
                  </a:cubicBezTo>
                  <a:cubicBezTo>
                    <a:pt x="71" y="52"/>
                    <a:pt x="71" y="52"/>
                    <a:pt x="71" y="52"/>
                  </a:cubicBezTo>
                  <a:cubicBezTo>
                    <a:pt x="71" y="40"/>
                    <a:pt x="71" y="40"/>
                    <a:pt x="71" y="40"/>
                  </a:cubicBezTo>
                  <a:cubicBezTo>
                    <a:pt x="79" y="40"/>
                    <a:pt x="79" y="40"/>
                    <a:pt x="79" y="40"/>
                  </a:cubicBezTo>
                  <a:cubicBezTo>
                    <a:pt x="79" y="31"/>
                    <a:pt x="79" y="31"/>
                    <a:pt x="79" y="31"/>
                  </a:cubicBezTo>
                  <a:cubicBezTo>
                    <a:pt x="71" y="31"/>
                    <a:pt x="71" y="31"/>
                    <a:pt x="71" y="31"/>
                  </a:cubicBezTo>
                  <a:cubicBezTo>
                    <a:pt x="71" y="23"/>
                    <a:pt x="71" y="23"/>
                    <a:pt x="71" y="23"/>
                  </a:cubicBezTo>
                  <a:cubicBezTo>
                    <a:pt x="71" y="11"/>
                    <a:pt x="61" y="0"/>
                    <a:pt x="48" y="0"/>
                  </a:cubicBezTo>
                  <a:cubicBezTo>
                    <a:pt x="35" y="0"/>
                    <a:pt x="25" y="11"/>
                    <a:pt x="25" y="23"/>
                  </a:cubicBezTo>
                  <a:cubicBezTo>
                    <a:pt x="25" y="69"/>
                    <a:pt x="25" y="69"/>
                    <a:pt x="25" y="69"/>
                  </a:cubicBezTo>
                  <a:cubicBezTo>
                    <a:pt x="9" y="78"/>
                    <a:pt x="0" y="94"/>
                    <a:pt x="0" y="112"/>
                  </a:cubicBezTo>
                  <a:cubicBezTo>
                    <a:pt x="0" y="138"/>
                    <a:pt x="21" y="160"/>
                    <a:pt x="48" y="160"/>
                  </a:cubicBezTo>
                  <a:cubicBezTo>
                    <a:pt x="74" y="160"/>
                    <a:pt x="96" y="138"/>
                    <a:pt x="96" y="112"/>
                  </a:cubicBezTo>
                  <a:cubicBezTo>
                    <a:pt x="96" y="94"/>
                    <a:pt x="86" y="78"/>
                    <a:pt x="71" y="69"/>
                  </a:cubicBezTo>
                  <a:close/>
                  <a:moveTo>
                    <a:pt x="48" y="148"/>
                  </a:moveTo>
                  <a:cubicBezTo>
                    <a:pt x="28" y="148"/>
                    <a:pt x="12" y="132"/>
                    <a:pt x="12" y="112"/>
                  </a:cubicBezTo>
                  <a:cubicBezTo>
                    <a:pt x="12" y="97"/>
                    <a:pt x="20" y="84"/>
                    <a:pt x="33" y="79"/>
                  </a:cubicBezTo>
                  <a:cubicBezTo>
                    <a:pt x="37" y="77"/>
                    <a:pt x="37" y="77"/>
                    <a:pt x="37" y="77"/>
                  </a:cubicBezTo>
                  <a:cubicBezTo>
                    <a:pt x="37" y="23"/>
                    <a:pt x="37" y="23"/>
                    <a:pt x="37" y="23"/>
                  </a:cubicBezTo>
                  <a:cubicBezTo>
                    <a:pt x="37" y="17"/>
                    <a:pt x="42" y="12"/>
                    <a:pt x="48" y="12"/>
                  </a:cubicBezTo>
                  <a:cubicBezTo>
                    <a:pt x="54" y="12"/>
                    <a:pt x="59" y="17"/>
                    <a:pt x="59" y="23"/>
                  </a:cubicBezTo>
                  <a:cubicBezTo>
                    <a:pt x="59" y="77"/>
                    <a:pt x="59" y="77"/>
                    <a:pt x="59" y="77"/>
                  </a:cubicBezTo>
                  <a:cubicBezTo>
                    <a:pt x="63" y="79"/>
                    <a:pt x="63" y="79"/>
                    <a:pt x="63" y="79"/>
                  </a:cubicBezTo>
                  <a:cubicBezTo>
                    <a:pt x="76" y="84"/>
                    <a:pt x="84" y="97"/>
                    <a:pt x="84" y="112"/>
                  </a:cubicBezTo>
                  <a:cubicBezTo>
                    <a:pt x="84" y="132"/>
                    <a:pt x="68" y="148"/>
                    <a:pt x="48" y="14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51" name="Freeform 79"/>
          <p:cNvSpPr>
            <a:spLocks noEditPoints="1"/>
          </p:cNvSpPr>
          <p:nvPr userDrawn="1"/>
        </p:nvSpPr>
        <p:spPr bwMode="auto">
          <a:xfrm>
            <a:off x="5723803" y="-42616"/>
            <a:ext cx="339996" cy="415080"/>
          </a:xfrm>
          <a:custGeom>
            <a:avLst/>
            <a:gdLst>
              <a:gd name="T0" fmla="*/ 110 w 114"/>
              <a:gd name="T1" fmla="*/ 63 h 140"/>
              <a:gd name="T2" fmla="*/ 110 w 114"/>
              <a:gd name="T3" fmla="*/ 63 h 140"/>
              <a:gd name="T4" fmla="*/ 110 w 114"/>
              <a:gd name="T5" fmla="*/ 63 h 140"/>
              <a:gd name="T6" fmla="*/ 63 w 114"/>
              <a:gd name="T7" fmla="*/ 2 h 140"/>
              <a:gd name="T8" fmla="*/ 58 w 114"/>
              <a:gd name="T9" fmla="*/ 0 h 140"/>
              <a:gd name="T10" fmla="*/ 58 w 114"/>
              <a:gd name="T11" fmla="*/ 0 h 140"/>
              <a:gd name="T12" fmla="*/ 58 w 114"/>
              <a:gd name="T13" fmla="*/ 0 h 140"/>
              <a:gd name="T14" fmla="*/ 57 w 114"/>
              <a:gd name="T15" fmla="*/ 0 h 140"/>
              <a:gd name="T16" fmla="*/ 57 w 114"/>
              <a:gd name="T17" fmla="*/ 0 h 140"/>
              <a:gd name="T18" fmla="*/ 57 w 114"/>
              <a:gd name="T19" fmla="*/ 0 h 140"/>
              <a:gd name="T20" fmla="*/ 57 w 114"/>
              <a:gd name="T21" fmla="*/ 0 h 140"/>
              <a:gd name="T22" fmla="*/ 52 w 114"/>
              <a:gd name="T23" fmla="*/ 2 h 140"/>
              <a:gd name="T24" fmla="*/ 4 w 114"/>
              <a:gd name="T25" fmla="*/ 62 h 140"/>
              <a:gd name="T26" fmla="*/ 4 w 114"/>
              <a:gd name="T27" fmla="*/ 63 h 140"/>
              <a:gd name="T28" fmla="*/ 4 w 114"/>
              <a:gd name="T29" fmla="*/ 63 h 140"/>
              <a:gd name="T30" fmla="*/ 0 w 114"/>
              <a:gd name="T31" fmla="*/ 83 h 140"/>
              <a:gd name="T32" fmla="*/ 56 w 114"/>
              <a:gd name="T33" fmla="*/ 140 h 140"/>
              <a:gd name="T34" fmla="*/ 56 w 114"/>
              <a:gd name="T35" fmla="*/ 140 h 140"/>
              <a:gd name="T36" fmla="*/ 57 w 114"/>
              <a:gd name="T37" fmla="*/ 140 h 140"/>
              <a:gd name="T38" fmla="*/ 57 w 114"/>
              <a:gd name="T39" fmla="*/ 140 h 140"/>
              <a:gd name="T40" fmla="*/ 57 w 114"/>
              <a:gd name="T41" fmla="*/ 140 h 140"/>
              <a:gd name="T42" fmla="*/ 57 w 114"/>
              <a:gd name="T43" fmla="*/ 140 h 140"/>
              <a:gd name="T44" fmla="*/ 114 w 114"/>
              <a:gd name="T45" fmla="*/ 84 h 140"/>
              <a:gd name="T46" fmla="*/ 110 w 114"/>
              <a:gd name="T47" fmla="*/ 63 h 140"/>
              <a:gd name="T48" fmla="*/ 57 w 114"/>
              <a:gd name="T49" fmla="*/ 128 h 140"/>
              <a:gd name="T50" fmla="*/ 12 w 114"/>
              <a:gd name="T51" fmla="*/ 83 h 140"/>
              <a:gd name="T52" fmla="*/ 20 w 114"/>
              <a:gd name="T53" fmla="*/ 76 h 140"/>
              <a:gd name="T54" fmla="*/ 28 w 114"/>
              <a:gd name="T55" fmla="*/ 83 h 140"/>
              <a:gd name="T56" fmla="*/ 57 w 114"/>
              <a:gd name="T57" fmla="*/ 113 h 140"/>
              <a:gd name="T58" fmla="*/ 65 w 114"/>
              <a:gd name="T59" fmla="*/ 120 h 140"/>
              <a:gd name="T60" fmla="*/ 57 w 114"/>
              <a:gd name="T61"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40">
                <a:moveTo>
                  <a:pt x="110" y="63"/>
                </a:moveTo>
                <a:cubicBezTo>
                  <a:pt x="110" y="63"/>
                  <a:pt x="110" y="63"/>
                  <a:pt x="110" y="63"/>
                </a:cubicBezTo>
                <a:cubicBezTo>
                  <a:pt x="110" y="63"/>
                  <a:pt x="110" y="63"/>
                  <a:pt x="110" y="63"/>
                </a:cubicBezTo>
                <a:cubicBezTo>
                  <a:pt x="100" y="37"/>
                  <a:pt x="80" y="19"/>
                  <a:pt x="63" y="2"/>
                </a:cubicBezTo>
                <a:cubicBezTo>
                  <a:pt x="61" y="1"/>
                  <a:pt x="59" y="0"/>
                  <a:pt x="58" y="0"/>
                </a:cubicBezTo>
                <a:cubicBezTo>
                  <a:pt x="58" y="0"/>
                  <a:pt x="58" y="0"/>
                  <a:pt x="58" y="0"/>
                </a:cubicBezTo>
                <a:cubicBezTo>
                  <a:pt x="58" y="0"/>
                  <a:pt x="58" y="0"/>
                  <a:pt x="58" y="0"/>
                </a:cubicBezTo>
                <a:cubicBezTo>
                  <a:pt x="58" y="0"/>
                  <a:pt x="57" y="0"/>
                  <a:pt x="57" y="0"/>
                </a:cubicBezTo>
                <a:cubicBezTo>
                  <a:pt x="57" y="0"/>
                  <a:pt x="57" y="0"/>
                  <a:pt x="57" y="0"/>
                </a:cubicBezTo>
                <a:cubicBezTo>
                  <a:pt x="57" y="0"/>
                  <a:pt x="57" y="0"/>
                  <a:pt x="57" y="0"/>
                </a:cubicBezTo>
                <a:cubicBezTo>
                  <a:pt x="57" y="0"/>
                  <a:pt x="57" y="0"/>
                  <a:pt x="57" y="0"/>
                </a:cubicBezTo>
                <a:cubicBezTo>
                  <a:pt x="55" y="0"/>
                  <a:pt x="54" y="1"/>
                  <a:pt x="52" y="2"/>
                </a:cubicBezTo>
                <a:cubicBezTo>
                  <a:pt x="34" y="19"/>
                  <a:pt x="15" y="37"/>
                  <a:pt x="4" y="62"/>
                </a:cubicBezTo>
                <a:cubicBezTo>
                  <a:pt x="4" y="63"/>
                  <a:pt x="4" y="63"/>
                  <a:pt x="4" y="63"/>
                </a:cubicBezTo>
                <a:cubicBezTo>
                  <a:pt x="4" y="63"/>
                  <a:pt x="4" y="63"/>
                  <a:pt x="4" y="63"/>
                </a:cubicBezTo>
                <a:cubicBezTo>
                  <a:pt x="2" y="69"/>
                  <a:pt x="0" y="76"/>
                  <a:pt x="0" y="83"/>
                </a:cubicBezTo>
                <a:cubicBezTo>
                  <a:pt x="0" y="115"/>
                  <a:pt x="25" y="140"/>
                  <a:pt x="56" y="140"/>
                </a:cubicBezTo>
                <a:cubicBezTo>
                  <a:pt x="56" y="140"/>
                  <a:pt x="56" y="140"/>
                  <a:pt x="56" y="140"/>
                </a:cubicBezTo>
                <a:cubicBezTo>
                  <a:pt x="56" y="140"/>
                  <a:pt x="57" y="140"/>
                  <a:pt x="57" y="140"/>
                </a:cubicBezTo>
                <a:cubicBezTo>
                  <a:pt x="57" y="140"/>
                  <a:pt x="57" y="140"/>
                  <a:pt x="57" y="140"/>
                </a:cubicBezTo>
                <a:cubicBezTo>
                  <a:pt x="57" y="140"/>
                  <a:pt x="57" y="140"/>
                  <a:pt x="57" y="140"/>
                </a:cubicBezTo>
                <a:cubicBezTo>
                  <a:pt x="57" y="140"/>
                  <a:pt x="57" y="140"/>
                  <a:pt x="57" y="140"/>
                </a:cubicBezTo>
                <a:cubicBezTo>
                  <a:pt x="88" y="140"/>
                  <a:pt x="113" y="115"/>
                  <a:pt x="114" y="84"/>
                </a:cubicBezTo>
                <a:cubicBezTo>
                  <a:pt x="114" y="77"/>
                  <a:pt x="112" y="70"/>
                  <a:pt x="110" y="63"/>
                </a:cubicBezTo>
                <a:close/>
                <a:moveTo>
                  <a:pt x="57" y="128"/>
                </a:moveTo>
                <a:cubicBezTo>
                  <a:pt x="32" y="128"/>
                  <a:pt x="12" y="108"/>
                  <a:pt x="12" y="83"/>
                </a:cubicBezTo>
                <a:cubicBezTo>
                  <a:pt x="12" y="79"/>
                  <a:pt x="16" y="76"/>
                  <a:pt x="20" y="76"/>
                </a:cubicBezTo>
                <a:cubicBezTo>
                  <a:pt x="24" y="76"/>
                  <a:pt x="28" y="79"/>
                  <a:pt x="28" y="83"/>
                </a:cubicBezTo>
                <a:cubicBezTo>
                  <a:pt x="28" y="100"/>
                  <a:pt x="41" y="113"/>
                  <a:pt x="57" y="113"/>
                </a:cubicBezTo>
                <a:cubicBezTo>
                  <a:pt x="61" y="113"/>
                  <a:pt x="65" y="116"/>
                  <a:pt x="65" y="120"/>
                </a:cubicBezTo>
                <a:cubicBezTo>
                  <a:pt x="65" y="125"/>
                  <a:pt x="61" y="128"/>
                  <a:pt x="57" y="128"/>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52" name="Group 151"/>
          <p:cNvGrpSpPr/>
          <p:nvPr userDrawn="1"/>
        </p:nvGrpSpPr>
        <p:grpSpPr>
          <a:xfrm>
            <a:off x="3583406" y="1651423"/>
            <a:ext cx="472839" cy="579639"/>
            <a:chOff x="-1624013" y="1593850"/>
            <a:chExt cx="646113" cy="792163"/>
          </a:xfrm>
          <a:solidFill>
            <a:schemeClr val="bg1">
              <a:lumMod val="85000"/>
            </a:schemeClr>
          </a:solidFill>
        </p:grpSpPr>
        <p:sp>
          <p:nvSpPr>
            <p:cNvPr id="153" name="Freeform 83"/>
            <p:cNvSpPr>
              <a:spLocks/>
            </p:cNvSpPr>
            <p:nvPr/>
          </p:nvSpPr>
          <p:spPr bwMode="auto">
            <a:xfrm>
              <a:off x="-1473200" y="1593850"/>
              <a:ext cx="495300" cy="568325"/>
            </a:xfrm>
            <a:custGeom>
              <a:avLst/>
              <a:gdLst>
                <a:gd name="T0" fmla="*/ 122 w 130"/>
                <a:gd name="T1" fmla="*/ 19 h 149"/>
                <a:gd name="T2" fmla="*/ 0 w 130"/>
                <a:gd name="T3" fmla="*/ 23 h 149"/>
                <a:gd name="T4" fmla="*/ 0 w 130"/>
                <a:gd name="T5" fmla="*/ 122 h 149"/>
                <a:gd name="T6" fmla="*/ 122 w 130"/>
                <a:gd name="T7" fmla="*/ 118 h 149"/>
                <a:gd name="T8" fmla="*/ 130 w 130"/>
                <a:gd name="T9" fmla="*/ 112 h 149"/>
                <a:gd name="T10" fmla="*/ 130 w 130"/>
                <a:gd name="T11" fmla="*/ 32 h 149"/>
                <a:gd name="T12" fmla="*/ 122 w 130"/>
                <a:gd name="T13" fmla="*/ 19 h 149"/>
              </a:gdLst>
              <a:ahLst/>
              <a:cxnLst>
                <a:cxn ang="0">
                  <a:pos x="T0" y="T1"/>
                </a:cxn>
                <a:cxn ang="0">
                  <a:pos x="T2" y="T3"/>
                </a:cxn>
                <a:cxn ang="0">
                  <a:pos x="T4" y="T5"/>
                </a:cxn>
                <a:cxn ang="0">
                  <a:pos x="T6" y="T7"/>
                </a:cxn>
                <a:cxn ang="0">
                  <a:pos x="T8" y="T9"/>
                </a:cxn>
                <a:cxn ang="0">
                  <a:pos x="T10" y="T11"/>
                </a:cxn>
                <a:cxn ang="0">
                  <a:pos x="T12" y="T13"/>
                </a:cxn>
              </a:cxnLst>
              <a:rect l="0" t="0" r="r" b="b"/>
              <a:pathLst>
                <a:path w="130" h="149">
                  <a:moveTo>
                    <a:pt x="122" y="19"/>
                  </a:moveTo>
                  <a:cubicBezTo>
                    <a:pt x="72" y="0"/>
                    <a:pt x="53" y="50"/>
                    <a:pt x="0" y="23"/>
                  </a:cubicBezTo>
                  <a:cubicBezTo>
                    <a:pt x="0" y="62"/>
                    <a:pt x="0" y="82"/>
                    <a:pt x="0" y="122"/>
                  </a:cubicBezTo>
                  <a:cubicBezTo>
                    <a:pt x="53" y="149"/>
                    <a:pt x="72" y="99"/>
                    <a:pt x="122" y="118"/>
                  </a:cubicBezTo>
                  <a:cubicBezTo>
                    <a:pt x="127" y="120"/>
                    <a:pt x="130" y="117"/>
                    <a:pt x="130" y="112"/>
                  </a:cubicBezTo>
                  <a:cubicBezTo>
                    <a:pt x="130" y="82"/>
                    <a:pt x="130" y="63"/>
                    <a:pt x="130" y="32"/>
                  </a:cubicBezTo>
                  <a:cubicBezTo>
                    <a:pt x="130" y="27"/>
                    <a:pt x="127" y="21"/>
                    <a:pt x="122" y="1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54" name="Freeform 84"/>
            <p:cNvSpPr>
              <a:spLocks/>
            </p:cNvSpPr>
            <p:nvPr/>
          </p:nvSpPr>
          <p:spPr bwMode="auto">
            <a:xfrm>
              <a:off x="-1624013" y="1624012"/>
              <a:ext cx="112713" cy="762001"/>
            </a:xfrm>
            <a:custGeom>
              <a:avLst/>
              <a:gdLst>
                <a:gd name="T0" fmla="*/ 15 w 30"/>
                <a:gd name="T1" fmla="*/ 0 h 200"/>
                <a:gd name="T2" fmla="*/ 0 w 30"/>
                <a:gd name="T3" fmla="*/ 15 h 200"/>
                <a:gd name="T4" fmla="*/ 0 w 30"/>
                <a:gd name="T5" fmla="*/ 184 h 200"/>
                <a:gd name="T6" fmla="*/ 0 w 30"/>
                <a:gd name="T7" fmla="*/ 184 h 200"/>
                <a:gd name="T8" fmla="*/ 15 w 30"/>
                <a:gd name="T9" fmla="*/ 200 h 200"/>
                <a:gd name="T10" fmla="*/ 30 w 30"/>
                <a:gd name="T11" fmla="*/ 184 h 200"/>
                <a:gd name="T12" fmla="*/ 30 w 30"/>
                <a:gd name="T13" fmla="*/ 184 h 200"/>
                <a:gd name="T14" fmla="*/ 30 w 30"/>
                <a:gd name="T15" fmla="*/ 15 h 200"/>
                <a:gd name="T16" fmla="*/ 15 w 30"/>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00">
                  <a:moveTo>
                    <a:pt x="15" y="0"/>
                  </a:moveTo>
                  <a:cubicBezTo>
                    <a:pt x="7" y="0"/>
                    <a:pt x="0" y="6"/>
                    <a:pt x="0" y="15"/>
                  </a:cubicBezTo>
                  <a:cubicBezTo>
                    <a:pt x="0" y="184"/>
                    <a:pt x="0" y="184"/>
                    <a:pt x="0" y="184"/>
                  </a:cubicBezTo>
                  <a:cubicBezTo>
                    <a:pt x="0" y="184"/>
                    <a:pt x="0" y="184"/>
                    <a:pt x="0" y="184"/>
                  </a:cubicBezTo>
                  <a:cubicBezTo>
                    <a:pt x="0" y="193"/>
                    <a:pt x="7" y="200"/>
                    <a:pt x="15" y="200"/>
                  </a:cubicBezTo>
                  <a:cubicBezTo>
                    <a:pt x="24" y="200"/>
                    <a:pt x="30" y="193"/>
                    <a:pt x="30" y="184"/>
                  </a:cubicBezTo>
                  <a:cubicBezTo>
                    <a:pt x="30" y="184"/>
                    <a:pt x="30" y="184"/>
                    <a:pt x="30" y="184"/>
                  </a:cubicBezTo>
                  <a:cubicBezTo>
                    <a:pt x="30" y="15"/>
                    <a:pt x="30" y="15"/>
                    <a:pt x="30" y="15"/>
                  </a:cubicBezTo>
                  <a:cubicBezTo>
                    <a:pt x="30" y="6"/>
                    <a:pt x="24" y="0"/>
                    <a:pt x="15"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55" name="Group 154"/>
          <p:cNvGrpSpPr/>
          <p:nvPr userDrawn="1"/>
        </p:nvGrpSpPr>
        <p:grpSpPr>
          <a:xfrm>
            <a:off x="11555650" y="2654058"/>
            <a:ext cx="551415" cy="539850"/>
            <a:chOff x="909638" y="-1014413"/>
            <a:chExt cx="762000" cy="746125"/>
          </a:xfrm>
          <a:solidFill>
            <a:schemeClr val="bg1">
              <a:lumMod val="85000"/>
            </a:schemeClr>
          </a:solidFill>
        </p:grpSpPr>
        <p:sp>
          <p:nvSpPr>
            <p:cNvPr id="156" name="Freeform 88"/>
            <p:cNvSpPr>
              <a:spLocks/>
            </p:cNvSpPr>
            <p:nvPr/>
          </p:nvSpPr>
          <p:spPr bwMode="auto">
            <a:xfrm>
              <a:off x="909638" y="-1014413"/>
              <a:ext cx="762000" cy="746125"/>
            </a:xfrm>
            <a:custGeom>
              <a:avLst/>
              <a:gdLst>
                <a:gd name="T0" fmla="*/ 189 w 200"/>
                <a:gd name="T1" fmla="*/ 174 h 196"/>
                <a:gd name="T2" fmla="*/ 22 w 200"/>
                <a:gd name="T3" fmla="*/ 174 h 196"/>
                <a:gd name="T4" fmla="*/ 22 w 200"/>
                <a:gd name="T5" fmla="*/ 11 h 196"/>
                <a:gd name="T6" fmla="*/ 11 w 200"/>
                <a:gd name="T7" fmla="*/ 0 h 196"/>
                <a:gd name="T8" fmla="*/ 0 w 200"/>
                <a:gd name="T9" fmla="*/ 11 h 196"/>
                <a:gd name="T10" fmla="*/ 0 w 200"/>
                <a:gd name="T11" fmla="*/ 185 h 196"/>
                <a:gd name="T12" fmla="*/ 11 w 200"/>
                <a:gd name="T13" fmla="*/ 196 h 196"/>
                <a:gd name="T14" fmla="*/ 189 w 200"/>
                <a:gd name="T15" fmla="*/ 196 h 196"/>
                <a:gd name="T16" fmla="*/ 200 w 200"/>
                <a:gd name="T17" fmla="*/ 185 h 196"/>
                <a:gd name="T18" fmla="*/ 189 w 200"/>
                <a:gd name="T19" fmla="*/ 17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196">
                  <a:moveTo>
                    <a:pt x="189" y="174"/>
                  </a:moveTo>
                  <a:cubicBezTo>
                    <a:pt x="22" y="174"/>
                    <a:pt x="22" y="174"/>
                    <a:pt x="22" y="174"/>
                  </a:cubicBezTo>
                  <a:cubicBezTo>
                    <a:pt x="22" y="11"/>
                    <a:pt x="22" y="11"/>
                    <a:pt x="22" y="11"/>
                  </a:cubicBezTo>
                  <a:cubicBezTo>
                    <a:pt x="22" y="5"/>
                    <a:pt x="17" y="0"/>
                    <a:pt x="11" y="0"/>
                  </a:cubicBezTo>
                  <a:cubicBezTo>
                    <a:pt x="5" y="0"/>
                    <a:pt x="0" y="5"/>
                    <a:pt x="0" y="11"/>
                  </a:cubicBezTo>
                  <a:cubicBezTo>
                    <a:pt x="0" y="185"/>
                    <a:pt x="0" y="185"/>
                    <a:pt x="0" y="185"/>
                  </a:cubicBezTo>
                  <a:cubicBezTo>
                    <a:pt x="0" y="191"/>
                    <a:pt x="5" y="196"/>
                    <a:pt x="11" y="196"/>
                  </a:cubicBezTo>
                  <a:cubicBezTo>
                    <a:pt x="189" y="196"/>
                    <a:pt x="189" y="196"/>
                    <a:pt x="189" y="196"/>
                  </a:cubicBezTo>
                  <a:cubicBezTo>
                    <a:pt x="195" y="196"/>
                    <a:pt x="200" y="191"/>
                    <a:pt x="200" y="185"/>
                  </a:cubicBezTo>
                  <a:cubicBezTo>
                    <a:pt x="200" y="179"/>
                    <a:pt x="195" y="174"/>
                    <a:pt x="189" y="17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57" name="Freeform 89"/>
            <p:cNvSpPr>
              <a:spLocks/>
            </p:cNvSpPr>
            <p:nvPr/>
          </p:nvSpPr>
          <p:spPr bwMode="auto">
            <a:xfrm>
              <a:off x="1023938" y="-823913"/>
              <a:ext cx="166688" cy="441325"/>
            </a:xfrm>
            <a:custGeom>
              <a:avLst/>
              <a:gdLst>
                <a:gd name="T0" fmla="*/ 7 w 44"/>
                <a:gd name="T1" fmla="*/ 116 h 116"/>
                <a:gd name="T2" fmla="*/ 36 w 44"/>
                <a:gd name="T3" fmla="*/ 116 h 116"/>
                <a:gd name="T4" fmla="*/ 44 w 44"/>
                <a:gd name="T5" fmla="*/ 109 h 116"/>
                <a:gd name="T6" fmla="*/ 44 w 44"/>
                <a:gd name="T7" fmla="*/ 7 h 116"/>
                <a:gd name="T8" fmla="*/ 36 w 44"/>
                <a:gd name="T9" fmla="*/ 0 h 116"/>
                <a:gd name="T10" fmla="*/ 7 w 44"/>
                <a:gd name="T11" fmla="*/ 0 h 116"/>
                <a:gd name="T12" fmla="*/ 0 w 44"/>
                <a:gd name="T13" fmla="*/ 7 h 116"/>
                <a:gd name="T14" fmla="*/ 0 w 44"/>
                <a:gd name="T15" fmla="*/ 109 h 116"/>
                <a:gd name="T16" fmla="*/ 7 w 4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6">
                  <a:moveTo>
                    <a:pt x="7" y="116"/>
                  </a:moveTo>
                  <a:cubicBezTo>
                    <a:pt x="36" y="116"/>
                    <a:pt x="36" y="116"/>
                    <a:pt x="36" y="116"/>
                  </a:cubicBezTo>
                  <a:cubicBezTo>
                    <a:pt x="41" y="116"/>
                    <a:pt x="44" y="113"/>
                    <a:pt x="44" y="109"/>
                  </a:cubicBezTo>
                  <a:cubicBezTo>
                    <a:pt x="44" y="7"/>
                    <a:pt x="44" y="7"/>
                    <a:pt x="44" y="7"/>
                  </a:cubicBezTo>
                  <a:cubicBezTo>
                    <a:pt x="44" y="3"/>
                    <a:pt x="41" y="0"/>
                    <a:pt x="36" y="0"/>
                  </a:cubicBezTo>
                  <a:cubicBezTo>
                    <a:pt x="7" y="0"/>
                    <a:pt x="7" y="0"/>
                    <a:pt x="7" y="0"/>
                  </a:cubicBezTo>
                  <a:cubicBezTo>
                    <a:pt x="3" y="0"/>
                    <a:pt x="0" y="3"/>
                    <a:pt x="0" y="7"/>
                  </a:cubicBezTo>
                  <a:cubicBezTo>
                    <a:pt x="0" y="109"/>
                    <a:pt x="0" y="109"/>
                    <a:pt x="0" y="109"/>
                  </a:cubicBezTo>
                  <a:cubicBezTo>
                    <a:pt x="0" y="113"/>
                    <a:pt x="3" y="116"/>
                    <a:pt x="7" y="11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90"/>
            <p:cNvSpPr>
              <a:spLocks/>
            </p:cNvSpPr>
            <p:nvPr/>
          </p:nvSpPr>
          <p:spPr bwMode="auto">
            <a:xfrm>
              <a:off x="1241426" y="-965201"/>
              <a:ext cx="166688" cy="582613"/>
            </a:xfrm>
            <a:custGeom>
              <a:avLst/>
              <a:gdLst>
                <a:gd name="T0" fmla="*/ 8 w 44"/>
                <a:gd name="T1" fmla="*/ 153 h 153"/>
                <a:gd name="T2" fmla="*/ 37 w 44"/>
                <a:gd name="T3" fmla="*/ 153 h 153"/>
                <a:gd name="T4" fmla="*/ 44 w 44"/>
                <a:gd name="T5" fmla="*/ 146 h 153"/>
                <a:gd name="T6" fmla="*/ 44 w 44"/>
                <a:gd name="T7" fmla="*/ 7 h 153"/>
                <a:gd name="T8" fmla="*/ 37 w 44"/>
                <a:gd name="T9" fmla="*/ 0 h 153"/>
                <a:gd name="T10" fmla="*/ 8 w 44"/>
                <a:gd name="T11" fmla="*/ 0 h 153"/>
                <a:gd name="T12" fmla="*/ 0 w 44"/>
                <a:gd name="T13" fmla="*/ 7 h 153"/>
                <a:gd name="T14" fmla="*/ 0 w 44"/>
                <a:gd name="T15" fmla="*/ 146 h 153"/>
                <a:gd name="T16" fmla="*/ 8 w 44"/>
                <a:gd name="T1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53">
                  <a:moveTo>
                    <a:pt x="8" y="153"/>
                  </a:moveTo>
                  <a:cubicBezTo>
                    <a:pt x="37" y="153"/>
                    <a:pt x="37" y="153"/>
                    <a:pt x="37" y="153"/>
                  </a:cubicBezTo>
                  <a:cubicBezTo>
                    <a:pt x="41" y="153"/>
                    <a:pt x="44" y="150"/>
                    <a:pt x="44" y="146"/>
                  </a:cubicBezTo>
                  <a:cubicBezTo>
                    <a:pt x="44" y="7"/>
                    <a:pt x="44" y="7"/>
                    <a:pt x="44" y="7"/>
                  </a:cubicBezTo>
                  <a:cubicBezTo>
                    <a:pt x="44" y="3"/>
                    <a:pt x="41" y="0"/>
                    <a:pt x="37" y="0"/>
                  </a:cubicBezTo>
                  <a:cubicBezTo>
                    <a:pt x="8" y="0"/>
                    <a:pt x="8" y="0"/>
                    <a:pt x="8" y="0"/>
                  </a:cubicBezTo>
                  <a:cubicBezTo>
                    <a:pt x="3" y="0"/>
                    <a:pt x="0" y="3"/>
                    <a:pt x="0" y="7"/>
                  </a:cubicBezTo>
                  <a:cubicBezTo>
                    <a:pt x="0" y="146"/>
                    <a:pt x="0" y="146"/>
                    <a:pt x="0" y="146"/>
                  </a:cubicBezTo>
                  <a:cubicBezTo>
                    <a:pt x="0" y="150"/>
                    <a:pt x="3" y="153"/>
                    <a:pt x="8" y="153"/>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59" name="Freeform 91"/>
            <p:cNvSpPr>
              <a:spLocks/>
            </p:cNvSpPr>
            <p:nvPr/>
          </p:nvSpPr>
          <p:spPr bwMode="auto">
            <a:xfrm>
              <a:off x="1457326" y="-682626"/>
              <a:ext cx="168275" cy="300038"/>
            </a:xfrm>
            <a:custGeom>
              <a:avLst/>
              <a:gdLst>
                <a:gd name="T0" fmla="*/ 8 w 44"/>
                <a:gd name="T1" fmla="*/ 79 h 79"/>
                <a:gd name="T2" fmla="*/ 37 w 44"/>
                <a:gd name="T3" fmla="*/ 79 h 79"/>
                <a:gd name="T4" fmla="*/ 44 w 44"/>
                <a:gd name="T5" fmla="*/ 72 h 79"/>
                <a:gd name="T6" fmla="*/ 44 w 44"/>
                <a:gd name="T7" fmla="*/ 7 h 79"/>
                <a:gd name="T8" fmla="*/ 37 w 44"/>
                <a:gd name="T9" fmla="*/ 0 h 79"/>
                <a:gd name="T10" fmla="*/ 8 w 44"/>
                <a:gd name="T11" fmla="*/ 0 h 79"/>
                <a:gd name="T12" fmla="*/ 0 w 44"/>
                <a:gd name="T13" fmla="*/ 7 h 79"/>
                <a:gd name="T14" fmla="*/ 0 w 44"/>
                <a:gd name="T15" fmla="*/ 72 h 79"/>
                <a:gd name="T16" fmla="*/ 8 w 44"/>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9">
                  <a:moveTo>
                    <a:pt x="8" y="79"/>
                  </a:moveTo>
                  <a:cubicBezTo>
                    <a:pt x="37" y="79"/>
                    <a:pt x="37" y="79"/>
                    <a:pt x="37" y="79"/>
                  </a:cubicBezTo>
                  <a:cubicBezTo>
                    <a:pt x="41" y="79"/>
                    <a:pt x="44" y="76"/>
                    <a:pt x="44" y="72"/>
                  </a:cubicBezTo>
                  <a:cubicBezTo>
                    <a:pt x="44" y="7"/>
                    <a:pt x="44" y="7"/>
                    <a:pt x="44" y="7"/>
                  </a:cubicBezTo>
                  <a:cubicBezTo>
                    <a:pt x="44" y="3"/>
                    <a:pt x="41" y="0"/>
                    <a:pt x="37" y="0"/>
                  </a:cubicBezTo>
                  <a:cubicBezTo>
                    <a:pt x="8" y="0"/>
                    <a:pt x="8" y="0"/>
                    <a:pt x="8" y="0"/>
                  </a:cubicBezTo>
                  <a:cubicBezTo>
                    <a:pt x="4" y="0"/>
                    <a:pt x="0" y="3"/>
                    <a:pt x="0" y="7"/>
                  </a:cubicBezTo>
                  <a:cubicBezTo>
                    <a:pt x="0" y="72"/>
                    <a:pt x="0" y="72"/>
                    <a:pt x="0" y="72"/>
                  </a:cubicBezTo>
                  <a:cubicBezTo>
                    <a:pt x="0" y="76"/>
                    <a:pt x="4" y="79"/>
                    <a:pt x="8" y="7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60" name="Group 159"/>
          <p:cNvGrpSpPr/>
          <p:nvPr userDrawn="1"/>
        </p:nvGrpSpPr>
        <p:grpSpPr>
          <a:xfrm>
            <a:off x="5432826" y="6233899"/>
            <a:ext cx="1338674" cy="1352574"/>
            <a:chOff x="5024438" y="-1290638"/>
            <a:chExt cx="754062" cy="762000"/>
          </a:xfrm>
          <a:solidFill>
            <a:schemeClr val="bg1">
              <a:lumMod val="85000"/>
            </a:schemeClr>
          </a:solidFill>
        </p:grpSpPr>
        <p:sp>
          <p:nvSpPr>
            <p:cNvPr id="161" name="Freeform 100"/>
            <p:cNvSpPr>
              <a:spLocks noEditPoints="1"/>
            </p:cNvSpPr>
            <p:nvPr/>
          </p:nvSpPr>
          <p:spPr bwMode="auto">
            <a:xfrm>
              <a:off x="5180013" y="-1130301"/>
              <a:ext cx="442912" cy="441325"/>
            </a:xfrm>
            <a:custGeom>
              <a:avLst/>
              <a:gdLst>
                <a:gd name="T0" fmla="*/ 58 w 116"/>
                <a:gd name="T1" fmla="*/ 0 h 116"/>
                <a:gd name="T2" fmla="*/ 0 w 116"/>
                <a:gd name="T3" fmla="*/ 58 h 116"/>
                <a:gd name="T4" fmla="*/ 58 w 116"/>
                <a:gd name="T5" fmla="*/ 116 h 116"/>
                <a:gd name="T6" fmla="*/ 116 w 116"/>
                <a:gd name="T7" fmla="*/ 58 h 116"/>
                <a:gd name="T8" fmla="*/ 58 w 116"/>
                <a:gd name="T9" fmla="*/ 0 h 116"/>
                <a:gd name="T10" fmla="*/ 58 w 116"/>
                <a:gd name="T11" fmla="*/ 81 h 116"/>
                <a:gd name="T12" fmla="*/ 35 w 116"/>
                <a:gd name="T13" fmla="*/ 58 h 116"/>
                <a:gd name="T14" fmla="*/ 58 w 116"/>
                <a:gd name="T15" fmla="*/ 35 h 116"/>
                <a:gd name="T16" fmla="*/ 81 w 116"/>
                <a:gd name="T17" fmla="*/ 58 h 116"/>
                <a:gd name="T18" fmla="*/ 58 w 116"/>
                <a:gd name="T19" fmla="*/ 8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6">
                  <a:moveTo>
                    <a:pt x="58" y="0"/>
                  </a:moveTo>
                  <a:cubicBezTo>
                    <a:pt x="26" y="0"/>
                    <a:pt x="0" y="26"/>
                    <a:pt x="0" y="58"/>
                  </a:cubicBezTo>
                  <a:cubicBezTo>
                    <a:pt x="0" y="90"/>
                    <a:pt x="26" y="116"/>
                    <a:pt x="58" y="116"/>
                  </a:cubicBezTo>
                  <a:cubicBezTo>
                    <a:pt x="90" y="116"/>
                    <a:pt x="116" y="90"/>
                    <a:pt x="116" y="58"/>
                  </a:cubicBezTo>
                  <a:cubicBezTo>
                    <a:pt x="116" y="26"/>
                    <a:pt x="90" y="0"/>
                    <a:pt x="58" y="0"/>
                  </a:cubicBezTo>
                  <a:close/>
                  <a:moveTo>
                    <a:pt x="58" y="81"/>
                  </a:moveTo>
                  <a:cubicBezTo>
                    <a:pt x="45" y="81"/>
                    <a:pt x="35" y="71"/>
                    <a:pt x="35" y="58"/>
                  </a:cubicBezTo>
                  <a:cubicBezTo>
                    <a:pt x="35" y="46"/>
                    <a:pt x="45" y="35"/>
                    <a:pt x="58" y="35"/>
                  </a:cubicBezTo>
                  <a:cubicBezTo>
                    <a:pt x="71" y="35"/>
                    <a:pt x="81" y="46"/>
                    <a:pt x="81" y="58"/>
                  </a:cubicBezTo>
                  <a:cubicBezTo>
                    <a:pt x="81" y="71"/>
                    <a:pt x="71" y="81"/>
                    <a:pt x="58" y="8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2" name="Freeform 101"/>
            <p:cNvSpPr>
              <a:spLocks noEditPoints="1"/>
            </p:cNvSpPr>
            <p:nvPr/>
          </p:nvSpPr>
          <p:spPr bwMode="auto">
            <a:xfrm>
              <a:off x="5024438" y="-1290638"/>
              <a:ext cx="754062" cy="762000"/>
            </a:xfrm>
            <a:custGeom>
              <a:avLst/>
              <a:gdLst>
                <a:gd name="T0" fmla="*/ 190 w 198"/>
                <a:gd name="T1" fmla="*/ 106 h 200"/>
                <a:gd name="T2" fmla="*/ 192 w 198"/>
                <a:gd name="T3" fmla="*/ 92 h 200"/>
                <a:gd name="T4" fmla="*/ 197 w 198"/>
                <a:gd name="T5" fmla="*/ 83 h 200"/>
                <a:gd name="T6" fmla="*/ 189 w 198"/>
                <a:gd name="T7" fmla="*/ 76 h 200"/>
                <a:gd name="T8" fmla="*/ 183 w 198"/>
                <a:gd name="T9" fmla="*/ 64 h 200"/>
                <a:gd name="T10" fmla="*/ 188 w 198"/>
                <a:gd name="T11" fmla="*/ 56 h 200"/>
                <a:gd name="T12" fmla="*/ 180 w 198"/>
                <a:gd name="T13" fmla="*/ 44 h 200"/>
                <a:gd name="T14" fmla="*/ 169 w 198"/>
                <a:gd name="T15" fmla="*/ 42 h 200"/>
                <a:gd name="T16" fmla="*/ 168 w 198"/>
                <a:gd name="T17" fmla="*/ 31 h 200"/>
                <a:gd name="T18" fmla="*/ 158 w 198"/>
                <a:gd name="T19" fmla="*/ 20 h 200"/>
                <a:gd name="T20" fmla="*/ 149 w 198"/>
                <a:gd name="T21" fmla="*/ 24 h 200"/>
                <a:gd name="T22" fmla="*/ 139 w 198"/>
                <a:gd name="T23" fmla="*/ 16 h 200"/>
                <a:gd name="T24" fmla="*/ 133 w 198"/>
                <a:gd name="T25" fmla="*/ 6 h 200"/>
                <a:gd name="T26" fmla="*/ 123 w 198"/>
                <a:gd name="T27" fmla="*/ 10 h 200"/>
                <a:gd name="T28" fmla="*/ 109 w 198"/>
                <a:gd name="T29" fmla="*/ 10 h 200"/>
                <a:gd name="T30" fmla="*/ 105 w 198"/>
                <a:gd name="T31" fmla="*/ 1 h 200"/>
                <a:gd name="T32" fmla="*/ 91 w 198"/>
                <a:gd name="T33" fmla="*/ 2 h 200"/>
                <a:gd name="T34" fmla="*/ 83 w 198"/>
                <a:gd name="T35" fmla="*/ 10 h 200"/>
                <a:gd name="T36" fmla="*/ 73 w 198"/>
                <a:gd name="T37" fmla="*/ 5 h 200"/>
                <a:gd name="T38" fmla="*/ 59 w 198"/>
                <a:gd name="T39" fmla="*/ 9 h 200"/>
                <a:gd name="T40" fmla="*/ 58 w 198"/>
                <a:gd name="T41" fmla="*/ 19 h 200"/>
                <a:gd name="T42" fmla="*/ 46 w 198"/>
                <a:gd name="T43" fmla="*/ 24 h 200"/>
                <a:gd name="T44" fmla="*/ 35 w 198"/>
                <a:gd name="T45" fmla="*/ 24 h 200"/>
                <a:gd name="T46" fmla="*/ 33 w 198"/>
                <a:gd name="T47" fmla="*/ 35 h 200"/>
                <a:gd name="T48" fmla="*/ 26 w 198"/>
                <a:gd name="T49" fmla="*/ 46 h 200"/>
                <a:gd name="T50" fmla="*/ 16 w 198"/>
                <a:gd name="T51" fmla="*/ 45 h 200"/>
                <a:gd name="T52" fmla="*/ 10 w 198"/>
                <a:gd name="T53" fmla="*/ 59 h 200"/>
                <a:gd name="T54" fmla="*/ 13 w 198"/>
                <a:gd name="T55" fmla="*/ 69 h 200"/>
                <a:gd name="T56" fmla="*/ 4 w 198"/>
                <a:gd name="T57" fmla="*/ 75 h 200"/>
                <a:gd name="T58" fmla="*/ 0 w 198"/>
                <a:gd name="T59" fmla="*/ 89 h 200"/>
                <a:gd name="T60" fmla="*/ 8 w 198"/>
                <a:gd name="T61" fmla="*/ 95 h 200"/>
                <a:gd name="T62" fmla="*/ 6 w 198"/>
                <a:gd name="T63" fmla="*/ 108 h 200"/>
                <a:gd name="T64" fmla="*/ 1 w 198"/>
                <a:gd name="T65" fmla="*/ 118 h 200"/>
                <a:gd name="T66" fmla="*/ 9 w 198"/>
                <a:gd name="T67" fmla="*/ 124 h 200"/>
                <a:gd name="T68" fmla="*/ 15 w 198"/>
                <a:gd name="T69" fmla="*/ 136 h 200"/>
                <a:gd name="T70" fmla="*/ 10 w 198"/>
                <a:gd name="T71" fmla="*/ 145 h 200"/>
                <a:gd name="T72" fmla="*/ 19 w 198"/>
                <a:gd name="T73" fmla="*/ 156 h 200"/>
                <a:gd name="T74" fmla="*/ 29 w 198"/>
                <a:gd name="T75" fmla="*/ 159 h 200"/>
                <a:gd name="T76" fmla="*/ 30 w 198"/>
                <a:gd name="T77" fmla="*/ 170 h 200"/>
                <a:gd name="T78" fmla="*/ 40 w 198"/>
                <a:gd name="T79" fmla="*/ 181 h 200"/>
                <a:gd name="T80" fmla="*/ 49 w 198"/>
                <a:gd name="T81" fmla="*/ 176 h 200"/>
                <a:gd name="T82" fmla="*/ 60 w 198"/>
                <a:gd name="T83" fmla="*/ 184 h 200"/>
                <a:gd name="T84" fmla="*/ 65 w 198"/>
                <a:gd name="T85" fmla="*/ 194 h 200"/>
                <a:gd name="T86" fmla="*/ 75 w 198"/>
                <a:gd name="T87" fmla="*/ 190 h 200"/>
                <a:gd name="T88" fmla="*/ 89 w 198"/>
                <a:gd name="T89" fmla="*/ 191 h 200"/>
                <a:gd name="T90" fmla="*/ 93 w 198"/>
                <a:gd name="T91" fmla="*/ 200 h 200"/>
                <a:gd name="T92" fmla="*/ 107 w 198"/>
                <a:gd name="T93" fmla="*/ 198 h 200"/>
                <a:gd name="T94" fmla="*/ 115 w 198"/>
                <a:gd name="T95" fmla="*/ 190 h 200"/>
                <a:gd name="T96" fmla="*/ 125 w 198"/>
                <a:gd name="T97" fmla="*/ 195 h 200"/>
                <a:gd name="T98" fmla="*/ 139 w 198"/>
                <a:gd name="T99" fmla="*/ 192 h 200"/>
                <a:gd name="T100" fmla="*/ 140 w 198"/>
                <a:gd name="T101" fmla="*/ 182 h 200"/>
                <a:gd name="T102" fmla="*/ 152 w 198"/>
                <a:gd name="T103" fmla="*/ 176 h 200"/>
                <a:gd name="T104" fmla="*/ 163 w 198"/>
                <a:gd name="T105" fmla="*/ 177 h 200"/>
                <a:gd name="T106" fmla="*/ 165 w 198"/>
                <a:gd name="T107" fmla="*/ 166 h 200"/>
                <a:gd name="T108" fmla="*/ 172 w 198"/>
                <a:gd name="T109" fmla="*/ 154 h 200"/>
                <a:gd name="T110" fmla="*/ 182 w 198"/>
                <a:gd name="T111" fmla="*/ 156 h 200"/>
                <a:gd name="T112" fmla="*/ 188 w 198"/>
                <a:gd name="T113" fmla="*/ 142 h 200"/>
                <a:gd name="T114" fmla="*/ 185 w 198"/>
                <a:gd name="T115" fmla="*/ 131 h 200"/>
                <a:gd name="T116" fmla="*/ 194 w 198"/>
                <a:gd name="T117" fmla="*/ 125 h 200"/>
                <a:gd name="T118" fmla="*/ 198 w 198"/>
                <a:gd name="T119" fmla="*/ 111 h 200"/>
                <a:gd name="T120" fmla="*/ 27 w 198"/>
                <a:gd name="T121" fmla="*/ 100 h 200"/>
                <a:gd name="T122" fmla="*/ 99 w 198"/>
                <a:gd name="T123" fmla="*/ 1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 h="200">
                  <a:moveTo>
                    <a:pt x="197" y="109"/>
                  </a:moveTo>
                  <a:cubicBezTo>
                    <a:pt x="192" y="108"/>
                    <a:pt x="192" y="108"/>
                    <a:pt x="192" y="108"/>
                  </a:cubicBezTo>
                  <a:cubicBezTo>
                    <a:pt x="191" y="108"/>
                    <a:pt x="190" y="107"/>
                    <a:pt x="190" y="106"/>
                  </a:cubicBezTo>
                  <a:cubicBezTo>
                    <a:pt x="190" y="104"/>
                    <a:pt x="190" y="102"/>
                    <a:pt x="190" y="100"/>
                  </a:cubicBezTo>
                  <a:cubicBezTo>
                    <a:pt x="190" y="98"/>
                    <a:pt x="190" y="97"/>
                    <a:pt x="190" y="95"/>
                  </a:cubicBezTo>
                  <a:cubicBezTo>
                    <a:pt x="190" y="94"/>
                    <a:pt x="191" y="93"/>
                    <a:pt x="192" y="92"/>
                  </a:cubicBezTo>
                  <a:cubicBezTo>
                    <a:pt x="197" y="91"/>
                    <a:pt x="197" y="91"/>
                    <a:pt x="197" y="91"/>
                  </a:cubicBezTo>
                  <a:cubicBezTo>
                    <a:pt x="198" y="91"/>
                    <a:pt x="198" y="90"/>
                    <a:pt x="198" y="89"/>
                  </a:cubicBezTo>
                  <a:cubicBezTo>
                    <a:pt x="198" y="87"/>
                    <a:pt x="198" y="85"/>
                    <a:pt x="197" y="83"/>
                  </a:cubicBezTo>
                  <a:cubicBezTo>
                    <a:pt x="197" y="81"/>
                    <a:pt x="197" y="79"/>
                    <a:pt x="196" y="77"/>
                  </a:cubicBezTo>
                  <a:cubicBezTo>
                    <a:pt x="196" y="76"/>
                    <a:pt x="195" y="75"/>
                    <a:pt x="194" y="75"/>
                  </a:cubicBezTo>
                  <a:cubicBezTo>
                    <a:pt x="189" y="76"/>
                    <a:pt x="189" y="76"/>
                    <a:pt x="189" y="76"/>
                  </a:cubicBezTo>
                  <a:cubicBezTo>
                    <a:pt x="188" y="76"/>
                    <a:pt x="187" y="75"/>
                    <a:pt x="186" y="74"/>
                  </a:cubicBezTo>
                  <a:cubicBezTo>
                    <a:pt x="186" y="73"/>
                    <a:pt x="185" y="71"/>
                    <a:pt x="185" y="69"/>
                  </a:cubicBezTo>
                  <a:cubicBezTo>
                    <a:pt x="184" y="67"/>
                    <a:pt x="183" y="66"/>
                    <a:pt x="183" y="64"/>
                  </a:cubicBezTo>
                  <a:cubicBezTo>
                    <a:pt x="182" y="63"/>
                    <a:pt x="182" y="62"/>
                    <a:pt x="183" y="61"/>
                  </a:cubicBezTo>
                  <a:cubicBezTo>
                    <a:pt x="188" y="59"/>
                    <a:pt x="188" y="59"/>
                    <a:pt x="188" y="59"/>
                  </a:cubicBezTo>
                  <a:cubicBezTo>
                    <a:pt x="189" y="58"/>
                    <a:pt x="189" y="57"/>
                    <a:pt x="188" y="56"/>
                  </a:cubicBezTo>
                  <a:cubicBezTo>
                    <a:pt x="188" y="54"/>
                    <a:pt x="187" y="52"/>
                    <a:pt x="185" y="50"/>
                  </a:cubicBezTo>
                  <a:cubicBezTo>
                    <a:pt x="184" y="48"/>
                    <a:pt x="183" y="47"/>
                    <a:pt x="182" y="45"/>
                  </a:cubicBezTo>
                  <a:cubicBezTo>
                    <a:pt x="181" y="44"/>
                    <a:pt x="181" y="44"/>
                    <a:pt x="180" y="44"/>
                  </a:cubicBezTo>
                  <a:cubicBezTo>
                    <a:pt x="175" y="47"/>
                    <a:pt x="175" y="47"/>
                    <a:pt x="175" y="47"/>
                  </a:cubicBezTo>
                  <a:cubicBezTo>
                    <a:pt x="174" y="47"/>
                    <a:pt x="173" y="47"/>
                    <a:pt x="172" y="46"/>
                  </a:cubicBezTo>
                  <a:cubicBezTo>
                    <a:pt x="171" y="45"/>
                    <a:pt x="170" y="43"/>
                    <a:pt x="169" y="42"/>
                  </a:cubicBezTo>
                  <a:cubicBezTo>
                    <a:pt x="168" y="40"/>
                    <a:pt x="166" y="39"/>
                    <a:pt x="165" y="38"/>
                  </a:cubicBezTo>
                  <a:cubicBezTo>
                    <a:pt x="164" y="37"/>
                    <a:pt x="164" y="36"/>
                    <a:pt x="165" y="35"/>
                  </a:cubicBezTo>
                  <a:cubicBezTo>
                    <a:pt x="168" y="31"/>
                    <a:pt x="168" y="31"/>
                    <a:pt x="168" y="31"/>
                  </a:cubicBezTo>
                  <a:cubicBezTo>
                    <a:pt x="169" y="30"/>
                    <a:pt x="169" y="29"/>
                    <a:pt x="168" y="28"/>
                  </a:cubicBezTo>
                  <a:cubicBezTo>
                    <a:pt x="166" y="27"/>
                    <a:pt x="165" y="25"/>
                    <a:pt x="163" y="24"/>
                  </a:cubicBezTo>
                  <a:cubicBezTo>
                    <a:pt x="162" y="22"/>
                    <a:pt x="160" y="21"/>
                    <a:pt x="158" y="20"/>
                  </a:cubicBezTo>
                  <a:cubicBezTo>
                    <a:pt x="157" y="19"/>
                    <a:pt x="156" y="19"/>
                    <a:pt x="156" y="20"/>
                  </a:cubicBezTo>
                  <a:cubicBezTo>
                    <a:pt x="152" y="24"/>
                    <a:pt x="152" y="24"/>
                    <a:pt x="152" y="24"/>
                  </a:cubicBezTo>
                  <a:cubicBezTo>
                    <a:pt x="151" y="25"/>
                    <a:pt x="150" y="25"/>
                    <a:pt x="149" y="24"/>
                  </a:cubicBezTo>
                  <a:cubicBezTo>
                    <a:pt x="148" y="23"/>
                    <a:pt x="146" y="22"/>
                    <a:pt x="145" y="21"/>
                  </a:cubicBezTo>
                  <a:cubicBezTo>
                    <a:pt x="143" y="20"/>
                    <a:pt x="141" y="20"/>
                    <a:pt x="140" y="19"/>
                  </a:cubicBezTo>
                  <a:cubicBezTo>
                    <a:pt x="139" y="18"/>
                    <a:pt x="138" y="17"/>
                    <a:pt x="139" y="16"/>
                  </a:cubicBezTo>
                  <a:cubicBezTo>
                    <a:pt x="140" y="11"/>
                    <a:pt x="140" y="11"/>
                    <a:pt x="140" y="11"/>
                  </a:cubicBezTo>
                  <a:cubicBezTo>
                    <a:pt x="141" y="10"/>
                    <a:pt x="140" y="9"/>
                    <a:pt x="139" y="9"/>
                  </a:cubicBezTo>
                  <a:cubicBezTo>
                    <a:pt x="137" y="8"/>
                    <a:pt x="135" y="7"/>
                    <a:pt x="133" y="6"/>
                  </a:cubicBezTo>
                  <a:cubicBezTo>
                    <a:pt x="131" y="6"/>
                    <a:pt x="129" y="5"/>
                    <a:pt x="127" y="4"/>
                  </a:cubicBezTo>
                  <a:cubicBezTo>
                    <a:pt x="126" y="4"/>
                    <a:pt x="125" y="4"/>
                    <a:pt x="125" y="5"/>
                  </a:cubicBezTo>
                  <a:cubicBezTo>
                    <a:pt x="123" y="10"/>
                    <a:pt x="123" y="10"/>
                    <a:pt x="123" y="10"/>
                  </a:cubicBezTo>
                  <a:cubicBezTo>
                    <a:pt x="123" y="11"/>
                    <a:pt x="122" y="12"/>
                    <a:pt x="120" y="12"/>
                  </a:cubicBezTo>
                  <a:cubicBezTo>
                    <a:pt x="119" y="11"/>
                    <a:pt x="117" y="11"/>
                    <a:pt x="115" y="10"/>
                  </a:cubicBezTo>
                  <a:cubicBezTo>
                    <a:pt x="113" y="10"/>
                    <a:pt x="111" y="10"/>
                    <a:pt x="109" y="10"/>
                  </a:cubicBezTo>
                  <a:cubicBezTo>
                    <a:pt x="108" y="10"/>
                    <a:pt x="107" y="9"/>
                    <a:pt x="107" y="8"/>
                  </a:cubicBezTo>
                  <a:cubicBezTo>
                    <a:pt x="107" y="2"/>
                    <a:pt x="107" y="2"/>
                    <a:pt x="107" y="2"/>
                  </a:cubicBezTo>
                  <a:cubicBezTo>
                    <a:pt x="107" y="1"/>
                    <a:pt x="107" y="1"/>
                    <a:pt x="105" y="1"/>
                  </a:cubicBezTo>
                  <a:cubicBezTo>
                    <a:pt x="103" y="0"/>
                    <a:pt x="101" y="0"/>
                    <a:pt x="99" y="0"/>
                  </a:cubicBezTo>
                  <a:cubicBezTo>
                    <a:pt x="97" y="0"/>
                    <a:pt x="95" y="0"/>
                    <a:pt x="93" y="1"/>
                  </a:cubicBezTo>
                  <a:cubicBezTo>
                    <a:pt x="92" y="1"/>
                    <a:pt x="91" y="1"/>
                    <a:pt x="91" y="2"/>
                  </a:cubicBezTo>
                  <a:cubicBezTo>
                    <a:pt x="91" y="8"/>
                    <a:pt x="91" y="8"/>
                    <a:pt x="91" y="8"/>
                  </a:cubicBezTo>
                  <a:cubicBezTo>
                    <a:pt x="91" y="9"/>
                    <a:pt x="90" y="10"/>
                    <a:pt x="89" y="10"/>
                  </a:cubicBezTo>
                  <a:cubicBezTo>
                    <a:pt x="87" y="10"/>
                    <a:pt x="85" y="10"/>
                    <a:pt x="83" y="10"/>
                  </a:cubicBezTo>
                  <a:cubicBezTo>
                    <a:pt x="81" y="11"/>
                    <a:pt x="80" y="11"/>
                    <a:pt x="78" y="12"/>
                  </a:cubicBezTo>
                  <a:cubicBezTo>
                    <a:pt x="77" y="12"/>
                    <a:pt x="76" y="11"/>
                    <a:pt x="75" y="10"/>
                  </a:cubicBezTo>
                  <a:cubicBezTo>
                    <a:pt x="73" y="5"/>
                    <a:pt x="73" y="5"/>
                    <a:pt x="73" y="5"/>
                  </a:cubicBezTo>
                  <a:cubicBezTo>
                    <a:pt x="73" y="4"/>
                    <a:pt x="72" y="4"/>
                    <a:pt x="71" y="4"/>
                  </a:cubicBezTo>
                  <a:cubicBezTo>
                    <a:pt x="69" y="5"/>
                    <a:pt x="67" y="6"/>
                    <a:pt x="65" y="6"/>
                  </a:cubicBezTo>
                  <a:cubicBezTo>
                    <a:pt x="63" y="7"/>
                    <a:pt x="61" y="8"/>
                    <a:pt x="59" y="9"/>
                  </a:cubicBezTo>
                  <a:cubicBezTo>
                    <a:pt x="58" y="9"/>
                    <a:pt x="57" y="10"/>
                    <a:pt x="58" y="11"/>
                  </a:cubicBezTo>
                  <a:cubicBezTo>
                    <a:pt x="60" y="16"/>
                    <a:pt x="60" y="16"/>
                    <a:pt x="60" y="16"/>
                  </a:cubicBezTo>
                  <a:cubicBezTo>
                    <a:pt x="60" y="17"/>
                    <a:pt x="59" y="18"/>
                    <a:pt x="58" y="19"/>
                  </a:cubicBezTo>
                  <a:cubicBezTo>
                    <a:pt x="57" y="20"/>
                    <a:pt x="55" y="20"/>
                    <a:pt x="54" y="21"/>
                  </a:cubicBezTo>
                  <a:cubicBezTo>
                    <a:pt x="52" y="22"/>
                    <a:pt x="50" y="23"/>
                    <a:pt x="49" y="24"/>
                  </a:cubicBezTo>
                  <a:cubicBezTo>
                    <a:pt x="48" y="25"/>
                    <a:pt x="47" y="25"/>
                    <a:pt x="46" y="24"/>
                  </a:cubicBezTo>
                  <a:cubicBezTo>
                    <a:pt x="43" y="20"/>
                    <a:pt x="43" y="20"/>
                    <a:pt x="43" y="20"/>
                  </a:cubicBezTo>
                  <a:cubicBezTo>
                    <a:pt x="42" y="19"/>
                    <a:pt x="41" y="19"/>
                    <a:pt x="40" y="20"/>
                  </a:cubicBezTo>
                  <a:cubicBezTo>
                    <a:pt x="38" y="21"/>
                    <a:pt x="37" y="22"/>
                    <a:pt x="35" y="24"/>
                  </a:cubicBezTo>
                  <a:cubicBezTo>
                    <a:pt x="33" y="25"/>
                    <a:pt x="32" y="27"/>
                    <a:pt x="30" y="28"/>
                  </a:cubicBezTo>
                  <a:cubicBezTo>
                    <a:pt x="29" y="29"/>
                    <a:pt x="29" y="30"/>
                    <a:pt x="30" y="31"/>
                  </a:cubicBezTo>
                  <a:cubicBezTo>
                    <a:pt x="33" y="35"/>
                    <a:pt x="33" y="35"/>
                    <a:pt x="33" y="35"/>
                  </a:cubicBezTo>
                  <a:cubicBezTo>
                    <a:pt x="34" y="36"/>
                    <a:pt x="34" y="37"/>
                    <a:pt x="33" y="38"/>
                  </a:cubicBezTo>
                  <a:cubicBezTo>
                    <a:pt x="32" y="39"/>
                    <a:pt x="30" y="40"/>
                    <a:pt x="29" y="42"/>
                  </a:cubicBezTo>
                  <a:cubicBezTo>
                    <a:pt x="28" y="43"/>
                    <a:pt x="27" y="44"/>
                    <a:pt x="26" y="46"/>
                  </a:cubicBezTo>
                  <a:cubicBezTo>
                    <a:pt x="25" y="47"/>
                    <a:pt x="24" y="47"/>
                    <a:pt x="23" y="47"/>
                  </a:cubicBezTo>
                  <a:cubicBezTo>
                    <a:pt x="19" y="44"/>
                    <a:pt x="19" y="44"/>
                    <a:pt x="19" y="44"/>
                  </a:cubicBezTo>
                  <a:cubicBezTo>
                    <a:pt x="18" y="44"/>
                    <a:pt x="17" y="44"/>
                    <a:pt x="16" y="45"/>
                  </a:cubicBezTo>
                  <a:cubicBezTo>
                    <a:pt x="15" y="47"/>
                    <a:pt x="14" y="48"/>
                    <a:pt x="13" y="50"/>
                  </a:cubicBezTo>
                  <a:cubicBezTo>
                    <a:pt x="12" y="52"/>
                    <a:pt x="11" y="54"/>
                    <a:pt x="10" y="56"/>
                  </a:cubicBezTo>
                  <a:cubicBezTo>
                    <a:pt x="9" y="57"/>
                    <a:pt x="9" y="58"/>
                    <a:pt x="10" y="59"/>
                  </a:cubicBezTo>
                  <a:cubicBezTo>
                    <a:pt x="15" y="61"/>
                    <a:pt x="15" y="61"/>
                    <a:pt x="15" y="61"/>
                  </a:cubicBezTo>
                  <a:cubicBezTo>
                    <a:pt x="16" y="62"/>
                    <a:pt x="16" y="63"/>
                    <a:pt x="15" y="64"/>
                  </a:cubicBezTo>
                  <a:cubicBezTo>
                    <a:pt x="15" y="66"/>
                    <a:pt x="14" y="67"/>
                    <a:pt x="13" y="69"/>
                  </a:cubicBezTo>
                  <a:cubicBezTo>
                    <a:pt x="13" y="71"/>
                    <a:pt x="12" y="73"/>
                    <a:pt x="12" y="74"/>
                  </a:cubicBezTo>
                  <a:cubicBezTo>
                    <a:pt x="11" y="75"/>
                    <a:pt x="10" y="76"/>
                    <a:pt x="9" y="76"/>
                  </a:cubicBezTo>
                  <a:cubicBezTo>
                    <a:pt x="4" y="75"/>
                    <a:pt x="4" y="75"/>
                    <a:pt x="4" y="75"/>
                  </a:cubicBezTo>
                  <a:cubicBezTo>
                    <a:pt x="3" y="75"/>
                    <a:pt x="2" y="76"/>
                    <a:pt x="2" y="77"/>
                  </a:cubicBezTo>
                  <a:cubicBezTo>
                    <a:pt x="2" y="79"/>
                    <a:pt x="1" y="81"/>
                    <a:pt x="1" y="83"/>
                  </a:cubicBezTo>
                  <a:cubicBezTo>
                    <a:pt x="0" y="85"/>
                    <a:pt x="0" y="87"/>
                    <a:pt x="0" y="89"/>
                  </a:cubicBezTo>
                  <a:cubicBezTo>
                    <a:pt x="0" y="90"/>
                    <a:pt x="0" y="91"/>
                    <a:pt x="1" y="91"/>
                  </a:cubicBezTo>
                  <a:cubicBezTo>
                    <a:pt x="6" y="92"/>
                    <a:pt x="6" y="92"/>
                    <a:pt x="6" y="92"/>
                  </a:cubicBezTo>
                  <a:cubicBezTo>
                    <a:pt x="8" y="93"/>
                    <a:pt x="8" y="93"/>
                    <a:pt x="8" y="95"/>
                  </a:cubicBezTo>
                  <a:cubicBezTo>
                    <a:pt x="8" y="97"/>
                    <a:pt x="8" y="98"/>
                    <a:pt x="8" y="100"/>
                  </a:cubicBezTo>
                  <a:cubicBezTo>
                    <a:pt x="8" y="102"/>
                    <a:pt x="8" y="104"/>
                    <a:pt x="8" y="106"/>
                  </a:cubicBezTo>
                  <a:cubicBezTo>
                    <a:pt x="8" y="107"/>
                    <a:pt x="8" y="108"/>
                    <a:pt x="6" y="108"/>
                  </a:cubicBezTo>
                  <a:cubicBezTo>
                    <a:pt x="1" y="109"/>
                    <a:pt x="1" y="109"/>
                    <a:pt x="1" y="109"/>
                  </a:cubicBezTo>
                  <a:cubicBezTo>
                    <a:pt x="0" y="109"/>
                    <a:pt x="0" y="110"/>
                    <a:pt x="0" y="111"/>
                  </a:cubicBezTo>
                  <a:cubicBezTo>
                    <a:pt x="0" y="113"/>
                    <a:pt x="0" y="115"/>
                    <a:pt x="1" y="118"/>
                  </a:cubicBezTo>
                  <a:cubicBezTo>
                    <a:pt x="1" y="120"/>
                    <a:pt x="2" y="122"/>
                    <a:pt x="2" y="124"/>
                  </a:cubicBezTo>
                  <a:cubicBezTo>
                    <a:pt x="2" y="125"/>
                    <a:pt x="3" y="126"/>
                    <a:pt x="4" y="125"/>
                  </a:cubicBezTo>
                  <a:cubicBezTo>
                    <a:pt x="9" y="124"/>
                    <a:pt x="9" y="124"/>
                    <a:pt x="9" y="124"/>
                  </a:cubicBezTo>
                  <a:cubicBezTo>
                    <a:pt x="10" y="124"/>
                    <a:pt x="11" y="125"/>
                    <a:pt x="12" y="126"/>
                  </a:cubicBezTo>
                  <a:cubicBezTo>
                    <a:pt x="12" y="128"/>
                    <a:pt x="13" y="130"/>
                    <a:pt x="13" y="131"/>
                  </a:cubicBezTo>
                  <a:cubicBezTo>
                    <a:pt x="14" y="133"/>
                    <a:pt x="15" y="135"/>
                    <a:pt x="15" y="136"/>
                  </a:cubicBezTo>
                  <a:cubicBezTo>
                    <a:pt x="16" y="138"/>
                    <a:pt x="16" y="139"/>
                    <a:pt x="15" y="139"/>
                  </a:cubicBezTo>
                  <a:cubicBezTo>
                    <a:pt x="10" y="142"/>
                    <a:pt x="10" y="142"/>
                    <a:pt x="10" y="142"/>
                  </a:cubicBezTo>
                  <a:cubicBezTo>
                    <a:pt x="9" y="142"/>
                    <a:pt x="9" y="143"/>
                    <a:pt x="10" y="145"/>
                  </a:cubicBezTo>
                  <a:cubicBezTo>
                    <a:pt x="11" y="146"/>
                    <a:pt x="12" y="148"/>
                    <a:pt x="13" y="150"/>
                  </a:cubicBezTo>
                  <a:cubicBezTo>
                    <a:pt x="14" y="152"/>
                    <a:pt x="15" y="154"/>
                    <a:pt x="16" y="155"/>
                  </a:cubicBezTo>
                  <a:cubicBezTo>
                    <a:pt x="17" y="156"/>
                    <a:pt x="18" y="157"/>
                    <a:pt x="19" y="156"/>
                  </a:cubicBezTo>
                  <a:cubicBezTo>
                    <a:pt x="23" y="154"/>
                    <a:pt x="23" y="154"/>
                    <a:pt x="23" y="154"/>
                  </a:cubicBezTo>
                  <a:cubicBezTo>
                    <a:pt x="24" y="153"/>
                    <a:pt x="25" y="153"/>
                    <a:pt x="26" y="154"/>
                  </a:cubicBezTo>
                  <a:cubicBezTo>
                    <a:pt x="27" y="156"/>
                    <a:pt x="28" y="157"/>
                    <a:pt x="29" y="159"/>
                  </a:cubicBezTo>
                  <a:cubicBezTo>
                    <a:pt x="30" y="160"/>
                    <a:pt x="32" y="162"/>
                    <a:pt x="33" y="163"/>
                  </a:cubicBezTo>
                  <a:cubicBezTo>
                    <a:pt x="34" y="164"/>
                    <a:pt x="34" y="165"/>
                    <a:pt x="33" y="166"/>
                  </a:cubicBezTo>
                  <a:cubicBezTo>
                    <a:pt x="30" y="170"/>
                    <a:pt x="30" y="170"/>
                    <a:pt x="30" y="170"/>
                  </a:cubicBezTo>
                  <a:cubicBezTo>
                    <a:pt x="29" y="171"/>
                    <a:pt x="29" y="172"/>
                    <a:pt x="30" y="172"/>
                  </a:cubicBezTo>
                  <a:cubicBezTo>
                    <a:pt x="32" y="174"/>
                    <a:pt x="33" y="175"/>
                    <a:pt x="35" y="177"/>
                  </a:cubicBezTo>
                  <a:cubicBezTo>
                    <a:pt x="37" y="178"/>
                    <a:pt x="38" y="179"/>
                    <a:pt x="40" y="181"/>
                  </a:cubicBezTo>
                  <a:cubicBezTo>
                    <a:pt x="41" y="181"/>
                    <a:pt x="42" y="181"/>
                    <a:pt x="43" y="180"/>
                  </a:cubicBezTo>
                  <a:cubicBezTo>
                    <a:pt x="46" y="176"/>
                    <a:pt x="46" y="176"/>
                    <a:pt x="46" y="176"/>
                  </a:cubicBezTo>
                  <a:cubicBezTo>
                    <a:pt x="47" y="176"/>
                    <a:pt x="48" y="176"/>
                    <a:pt x="49" y="176"/>
                  </a:cubicBezTo>
                  <a:cubicBezTo>
                    <a:pt x="50" y="177"/>
                    <a:pt x="52" y="178"/>
                    <a:pt x="53" y="179"/>
                  </a:cubicBezTo>
                  <a:cubicBezTo>
                    <a:pt x="55" y="180"/>
                    <a:pt x="57" y="181"/>
                    <a:pt x="58" y="182"/>
                  </a:cubicBezTo>
                  <a:cubicBezTo>
                    <a:pt x="59" y="182"/>
                    <a:pt x="60" y="183"/>
                    <a:pt x="60" y="184"/>
                  </a:cubicBezTo>
                  <a:cubicBezTo>
                    <a:pt x="58" y="189"/>
                    <a:pt x="58" y="189"/>
                    <a:pt x="58" y="189"/>
                  </a:cubicBezTo>
                  <a:cubicBezTo>
                    <a:pt x="57" y="190"/>
                    <a:pt x="58" y="191"/>
                    <a:pt x="59" y="192"/>
                  </a:cubicBezTo>
                  <a:cubicBezTo>
                    <a:pt x="61" y="192"/>
                    <a:pt x="63" y="193"/>
                    <a:pt x="65" y="194"/>
                  </a:cubicBezTo>
                  <a:cubicBezTo>
                    <a:pt x="67" y="195"/>
                    <a:pt x="69" y="195"/>
                    <a:pt x="71" y="196"/>
                  </a:cubicBezTo>
                  <a:cubicBezTo>
                    <a:pt x="72" y="196"/>
                    <a:pt x="73" y="196"/>
                    <a:pt x="73" y="195"/>
                  </a:cubicBezTo>
                  <a:cubicBezTo>
                    <a:pt x="75" y="190"/>
                    <a:pt x="75" y="190"/>
                    <a:pt x="75" y="190"/>
                  </a:cubicBezTo>
                  <a:cubicBezTo>
                    <a:pt x="76" y="189"/>
                    <a:pt x="77" y="189"/>
                    <a:pt x="78" y="189"/>
                  </a:cubicBezTo>
                  <a:cubicBezTo>
                    <a:pt x="80" y="189"/>
                    <a:pt x="81" y="190"/>
                    <a:pt x="83" y="190"/>
                  </a:cubicBezTo>
                  <a:cubicBezTo>
                    <a:pt x="85" y="190"/>
                    <a:pt x="87" y="191"/>
                    <a:pt x="89" y="191"/>
                  </a:cubicBezTo>
                  <a:cubicBezTo>
                    <a:pt x="90" y="191"/>
                    <a:pt x="91" y="192"/>
                    <a:pt x="91" y="193"/>
                  </a:cubicBezTo>
                  <a:cubicBezTo>
                    <a:pt x="91" y="198"/>
                    <a:pt x="91" y="198"/>
                    <a:pt x="91" y="198"/>
                  </a:cubicBezTo>
                  <a:cubicBezTo>
                    <a:pt x="91" y="199"/>
                    <a:pt x="91" y="200"/>
                    <a:pt x="93" y="200"/>
                  </a:cubicBezTo>
                  <a:cubicBezTo>
                    <a:pt x="95" y="200"/>
                    <a:pt x="97" y="200"/>
                    <a:pt x="99" y="200"/>
                  </a:cubicBezTo>
                  <a:cubicBezTo>
                    <a:pt x="101" y="200"/>
                    <a:pt x="103" y="200"/>
                    <a:pt x="105" y="200"/>
                  </a:cubicBezTo>
                  <a:cubicBezTo>
                    <a:pt x="107" y="200"/>
                    <a:pt x="107" y="199"/>
                    <a:pt x="107" y="198"/>
                  </a:cubicBezTo>
                  <a:cubicBezTo>
                    <a:pt x="107" y="193"/>
                    <a:pt x="107" y="193"/>
                    <a:pt x="107" y="193"/>
                  </a:cubicBezTo>
                  <a:cubicBezTo>
                    <a:pt x="107" y="192"/>
                    <a:pt x="108" y="191"/>
                    <a:pt x="109" y="191"/>
                  </a:cubicBezTo>
                  <a:cubicBezTo>
                    <a:pt x="111" y="191"/>
                    <a:pt x="113" y="190"/>
                    <a:pt x="115" y="190"/>
                  </a:cubicBezTo>
                  <a:cubicBezTo>
                    <a:pt x="117" y="190"/>
                    <a:pt x="118" y="189"/>
                    <a:pt x="120" y="189"/>
                  </a:cubicBezTo>
                  <a:cubicBezTo>
                    <a:pt x="121" y="189"/>
                    <a:pt x="122" y="189"/>
                    <a:pt x="123" y="190"/>
                  </a:cubicBezTo>
                  <a:cubicBezTo>
                    <a:pt x="125" y="195"/>
                    <a:pt x="125" y="195"/>
                    <a:pt x="125" y="195"/>
                  </a:cubicBezTo>
                  <a:cubicBezTo>
                    <a:pt x="125" y="196"/>
                    <a:pt x="126" y="196"/>
                    <a:pt x="127" y="196"/>
                  </a:cubicBezTo>
                  <a:cubicBezTo>
                    <a:pt x="129" y="195"/>
                    <a:pt x="131" y="195"/>
                    <a:pt x="133" y="194"/>
                  </a:cubicBezTo>
                  <a:cubicBezTo>
                    <a:pt x="135" y="193"/>
                    <a:pt x="137" y="193"/>
                    <a:pt x="139" y="192"/>
                  </a:cubicBezTo>
                  <a:cubicBezTo>
                    <a:pt x="140" y="191"/>
                    <a:pt x="141" y="190"/>
                    <a:pt x="140" y="189"/>
                  </a:cubicBezTo>
                  <a:cubicBezTo>
                    <a:pt x="139" y="184"/>
                    <a:pt x="139" y="184"/>
                    <a:pt x="139" y="184"/>
                  </a:cubicBezTo>
                  <a:cubicBezTo>
                    <a:pt x="138" y="183"/>
                    <a:pt x="139" y="182"/>
                    <a:pt x="140" y="182"/>
                  </a:cubicBezTo>
                  <a:cubicBezTo>
                    <a:pt x="141" y="181"/>
                    <a:pt x="143" y="180"/>
                    <a:pt x="145" y="179"/>
                  </a:cubicBezTo>
                  <a:cubicBezTo>
                    <a:pt x="146" y="178"/>
                    <a:pt x="148" y="177"/>
                    <a:pt x="149" y="176"/>
                  </a:cubicBezTo>
                  <a:cubicBezTo>
                    <a:pt x="150" y="176"/>
                    <a:pt x="151" y="176"/>
                    <a:pt x="152" y="176"/>
                  </a:cubicBezTo>
                  <a:cubicBezTo>
                    <a:pt x="156" y="181"/>
                    <a:pt x="156" y="181"/>
                    <a:pt x="156" y="181"/>
                  </a:cubicBezTo>
                  <a:cubicBezTo>
                    <a:pt x="156" y="181"/>
                    <a:pt x="157" y="181"/>
                    <a:pt x="158" y="181"/>
                  </a:cubicBezTo>
                  <a:cubicBezTo>
                    <a:pt x="160" y="179"/>
                    <a:pt x="162" y="178"/>
                    <a:pt x="163" y="177"/>
                  </a:cubicBezTo>
                  <a:cubicBezTo>
                    <a:pt x="165" y="175"/>
                    <a:pt x="166" y="174"/>
                    <a:pt x="168" y="172"/>
                  </a:cubicBezTo>
                  <a:cubicBezTo>
                    <a:pt x="169" y="172"/>
                    <a:pt x="169" y="171"/>
                    <a:pt x="168" y="170"/>
                  </a:cubicBezTo>
                  <a:cubicBezTo>
                    <a:pt x="165" y="166"/>
                    <a:pt x="165" y="166"/>
                    <a:pt x="165" y="166"/>
                  </a:cubicBezTo>
                  <a:cubicBezTo>
                    <a:pt x="164" y="165"/>
                    <a:pt x="164" y="164"/>
                    <a:pt x="165" y="163"/>
                  </a:cubicBezTo>
                  <a:cubicBezTo>
                    <a:pt x="166" y="162"/>
                    <a:pt x="168" y="160"/>
                    <a:pt x="169" y="159"/>
                  </a:cubicBezTo>
                  <a:cubicBezTo>
                    <a:pt x="170" y="157"/>
                    <a:pt x="171" y="156"/>
                    <a:pt x="172" y="154"/>
                  </a:cubicBezTo>
                  <a:cubicBezTo>
                    <a:pt x="173" y="154"/>
                    <a:pt x="174" y="153"/>
                    <a:pt x="175" y="154"/>
                  </a:cubicBezTo>
                  <a:cubicBezTo>
                    <a:pt x="180" y="156"/>
                    <a:pt x="180" y="156"/>
                    <a:pt x="180" y="156"/>
                  </a:cubicBezTo>
                  <a:cubicBezTo>
                    <a:pt x="181" y="157"/>
                    <a:pt x="181" y="157"/>
                    <a:pt x="182" y="156"/>
                  </a:cubicBezTo>
                  <a:cubicBezTo>
                    <a:pt x="183" y="154"/>
                    <a:pt x="184" y="152"/>
                    <a:pt x="185" y="150"/>
                  </a:cubicBezTo>
                  <a:cubicBezTo>
                    <a:pt x="187" y="148"/>
                    <a:pt x="188" y="146"/>
                    <a:pt x="188" y="145"/>
                  </a:cubicBezTo>
                  <a:cubicBezTo>
                    <a:pt x="189" y="143"/>
                    <a:pt x="189" y="142"/>
                    <a:pt x="188" y="142"/>
                  </a:cubicBezTo>
                  <a:cubicBezTo>
                    <a:pt x="183" y="139"/>
                    <a:pt x="183" y="139"/>
                    <a:pt x="183" y="139"/>
                  </a:cubicBezTo>
                  <a:cubicBezTo>
                    <a:pt x="182" y="139"/>
                    <a:pt x="182" y="138"/>
                    <a:pt x="183" y="137"/>
                  </a:cubicBezTo>
                  <a:cubicBezTo>
                    <a:pt x="183" y="135"/>
                    <a:pt x="184" y="133"/>
                    <a:pt x="185" y="131"/>
                  </a:cubicBezTo>
                  <a:cubicBezTo>
                    <a:pt x="185" y="130"/>
                    <a:pt x="186" y="128"/>
                    <a:pt x="186" y="126"/>
                  </a:cubicBezTo>
                  <a:cubicBezTo>
                    <a:pt x="187" y="125"/>
                    <a:pt x="188" y="124"/>
                    <a:pt x="189" y="125"/>
                  </a:cubicBezTo>
                  <a:cubicBezTo>
                    <a:pt x="194" y="125"/>
                    <a:pt x="194" y="125"/>
                    <a:pt x="194" y="125"/>
                  </a:cubicBezTo>
                  <a:cubicBezTo>
                    <a:pt x="195" y="126"/>
                    <a:pt x="196" y="125"/>
                    <a:pt x="196" y="124"/>
                  </a:cubicBezTo>
                  <a:cubicBezTo>
                    <a:pt x="197" y="122"/>
                    <a:pt x="197" y="120"/>
                    <a:pt x="197" y="118"/>
                  </a:cubicBezTo>
                  <a:cubicBezTo>
                    <a:pt x="198" y="115"/>
                    <a:pt x="198" y="113"/>
                    <a:pt x="198" y="111"/>
                  </a:cubicBezTo>
                  <a:cubicBezTo>
                    <a:pt x="198" y="110"/>
                    <a:pt x="198" y="109"/>
                    <a:pt x="197" y="109"/>
                  </a:cubicBezTo>
                  <a:close/>
                  <a:moveTo>
                    <a:pt x="99" y="172"/>
                  </a:moveTo>
                  <a:cubicBezTo>
                    <a:pt x="59" y="172"/>
                    <a:pt x="27" y="140"/>
                    <a:pt x="27" y="100"/>
                  </a:cubicBezTo>
                  <a:cubicBezTo>
                    <a:pt x="27" y="60"/>
                    <a:pt x="59" y="28"/>
                    <a:pt x="99" y="28"/>
                  </a:cubicBezTo>
                  <a:cubicBezTo>
                    <a:pt x="139" y="28"/>
                    <a:pt x="171" y="60"/>
                    <a:pt x="171" y="100"/>
                  </a:cubicBezTo>
                  <a:cubicBezTo>
                    <a:pt x="171" y="140"/>
                    <a:pt x="139" y="172"/>
                    <a:pt x="99" y="17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63" name="Freeform 110"/>
          <p:cNvSpPr>
            <a:spLocks noEditPoints="1"/>
          </p:cNvSpPr>
          <p:nvPr userDrawn="1"/>
        </p:nvSpPr>
        <p:spPr bwMode="auto">
          <a:xfrm>
            <a:off x="8979934" y="3884152"/>
            <a:ext cx="314226" cy="589241"/>
          </a:xfrm>
          <a:custGeom>
            <a:avLst/>
            <a:gdLst>
              <a:gd name="T0" fmla="*/ 631 w 765"/>
              <a:gd name="T1" fmla="*/ 193 h 1438"/>
              <a:gd name="T2" fmla="*/ 586 w 765"/>
              <a:gd name="T3" fmla="*/ 193 h 1438"/>
              <a:gd name="T4" fmla="*/ 586 w 765"/>
              <a:gd name="T5" fmla="*/ 124 h 1438"/>
              <a:gd name="T6" fmla="*/ 586 w 765"/>
              <a:gd name="T7" fmla="*/ 98 h 1438"/>
              <a:gd name="T8" fmla="*/ 487 w 765"/>
              <a:gd name="T9" fmla="*/ 0 h 1438"/>
              <a:gd name="T10" fmla="*/ 279 w 765"/>
              <a:gd name="T11" fmla="*/ 0 h 1438"/>
              <a:gd name="T12" fmla="*/ 180 w 765"/>
              <a:gd name="T13" fmla="*/ 98 h 1438"/>
              <a:gd name="T14" fmla="*/ 180 w 765"/>
              <a:gd name="T15" fmla="*/ 193 h 1438"/>
              <a:gd name="T16" fmla="*/ 135 w 765"/>
              <a:gd name="T17" fmla="*/ 193 h 1438"/>
              <a:gd name="T18" fmla="*/ 0 w 765"/>
              <a:gd name="T19" fmla="*/ 327 h 1438"/>
              <a:gd name="T20" fmla="*/ 0 w 765"/>
              <a:gd name="T21" fmla="*/ 1303 h 1438"/>
              <a:gd name="T22" fmla="*/ 135 w 765"/>
              <a:gd name="T23" fmla="*/ 1438 h 1438"/>
              <a:gd name="T24" fmla="*/ 631 w 765"/>
              <a:gd name="T25" fmla="*/ 1438 h 1438"/>
              <a:gd name="T26" fmla="*/ 765 w 765"/>
              <a:gd name="T27" fmla="*/ 1303 h 1438"/>
              <a:gd name="T28" fmla="*/ 765 w 765"/>
              <a:gd name="T29" fmla="*/ 327 h 1438"/>
              <a:gd name="T30" fmla="*/ 631 w 765"/>
              <a:gd name="T31" fmla="*/ 193 h 1438"/>
              <a:gd name="T32" fmla="*/ 277 w 765"/>
              <a:gd name="T33" fmla="*/ 98 h 1438"/>
              <a:gd name="T34" fmla="*/ 279 w 765"/>
              <a:gd name="T35" fmla="*/ 97 h 1438"/>
              <a:gd name="T36" fmla="*/ 487 w 765"/>
              <a:gd name="T37" fmla="*/ 97 h 1438"/>
              <a:gd name="T38" fmla="*/ 488 w 765"/>
              <a:gd name="T39" fmla="*/ 98 h 1438"/>
              <a:gd name="T40" fmla="*/ 488 w 765"/>
              <a:gd name="T41" fmla="*/ 193 h 1438"/>
              <a:gd name="T42" fmla="*/ 277 w 765"/>
              <a:gd name="T43" fmla="*/ 193 h 1438"/>
              <a:gd name="T44" fmla="*/ 277 w 765"/>
              <a:gd name="T45" fmla="*/ 98 h 1438"/>
              <a:gd name="T46" fmla="*/ 668 w 765"/>
              <a:gd name="T47" fmla="*/ 1303 h 1438"/>
              <a:gd name="T48" fmla="*/ 631 w 765"/>
              <a:gd name="T49" fmla="*/ 1340 h 1438"/>
              <a:gd name="T50" fmla="*/ 135 w 765"/>
              <a:gd name="T51" fmla="*/ 1340 h 1438"/>
              <a:gd name="T52" fmla="*/ 98 w 765"/>
              <a:gd name="T53" fmla="*/ 1303 h 1438"/>
              <a:gd name="T54" fmla="*/ 98 w 765"/>
              <a:gd name="T55" fmla="*/ 327 h 1438"/>
              <a:gd name="T56" fmla="*/ 135 w 765"/>
              <a:gd name="T57" fmla="*/ 290 h 1438"/>
              <a:gd name="T58" fmla="*/ 631 w 765"/>
              <a:gd name="T59" fmla="*/ 290 h 1438"/>
              <a:gd name="T60" fmla="*/ 668 w 765"/>
              <a:gd name="T61" fmla="*/ 327 h 1438"/>
              <a:gd name="T62" fmla="*/ 668 w 765"/>
              <a:gd name="T63" fmla="*/ 1303 h 1438"/>
              <a:gd name="T64" fmla="*/ 562 w 765"/>
              <a:gd name="T65" fmla="*/ 752 h 1438"/>
              <a:gd name="T66" fmla="*/ 404 w 765"/>
              <a:gd name="T67" fmla="*/ 753 h 1438"/>
              <a:gd name="T68" fmla="*/ 460 w 765"/>
              <a:gd name="T69" fmla="*/ 453 h 1438"/>
              <a:gd name="T70" fmla="*/ 450 w 765"/>
              <a:gd name="T71" fmla="*/ 434 h 1438"/>
              <a:gd name="T72" fmla="*/ 430 w 765"/>
              <a:gd name="T73" fmla="*/ 441 h 1438"/>
              <a:gd name="T74" fmla="*/ 191 w 765"/>
              <a:gd name="T75" fmla="*/ 854 h 1438"/>
              <a:gd name="T76" fmla="*/ 191 w 765"/>
              <a:gd name="T77" fmla="*/ 870 h 1438"/>
              <a:gd name="T78" fmla="*/ 206 w 765"/>
              <a:gd name="T79" fmla="*/ 879 h 1438"/>
              <a:gd name="T80" fmla="*/ 206 w 765"/>
              <a:gd name="T81" fmla="*/ 879 h 1438"/>
              <a:gd name="T82" fmla="*/ 364 w 765"/>
              <a:gd name="T83" fmla="*/ 878 h 1438"/>
              <a:gd name="T84" fmla="*/ 307 w 765"/>
              <a:gd name="T85" fmla="*/ 1178 h 1438"/>
              <a:gd name="T86" fmla="*/ 318 w 765"/>
              <a:gd name="T87" fmla="*/ 1197 h 1438"/>
              <a:gd name="T88" fmla="*/ 324 w 765"/>
              <a:gd name="T89" fmla="*/ 1198 h 1438"/>
              <a:gd name="T90" fmla="*/ 338 w 765"/>
              <a:gd name="T91" fmla="*/ 1189 h 1438"/>
              <a:gd name="T92" fmla="*/ 576 w 765"/>
              <a:gd name="T93" fmla="*/ 777 h 1438"/>
              <a:gd name="T94" fmla="*/ 576 w 765"/>
              <a:gd name="T95" fmla="*/ 760 h 1438"/>
              <a:gd name="T96" fmla="*/ 562 w 765"/>
              <a:gd name="T97" fmla="*/ 752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5" h="1438">
                <a:moveTo>
                  <a:pt x="631" y="193"/>
                </a:moveTo>
                <a:cubicBezTo>
                  <a:pt x="586" y="193"/>
                  <a:pt x="586" y="193"/>
                  <a:pt x="586" y="193"/>
                </a:cubicBezTo>
                <a:cubicBezTo>
                  <a:pt x="586" y="124"/>
                  <a:pt x="586" y="124"/>
                  <a:pt x="586" y="124"/>
                </a:cubicBezTo>
                <a:cubicBezTo>
                  <a:pt x="586" y="98"/>
                  <a:pt x="586" y="98"/>
                  <a:pt x="586" y="98"/>
                </a:cubicBezTo>
                <a:cubicBezTo>
                  <a:pt x="586" y="44"/>
                  <a:pt x="542" y="0"/>
                  <a:pt x="487" y="0"/>
                </a:cubicBezTo>
                <a:cubicBezTo>
                  <a:pt x="279" y="0"/>
                  <a:pt x="279" y="0"/>
                  <a:pt x="279" y="0"/>
                </a:cubicBezTo>
                <a:cubicBezTo>
                  <a:pt x="224" y="0"/>
                  <a:pt x="180" y="44"/>
                  <a:pt x="180" y="98"/>
                </a:cubicBezTo>
                <a:cubicBezTo>
                  <a:pt x="180" y="193"/>
                  <a:pt x="180" y="193"/>
                  <a:pt x="180" y="193"/>
                </a:cubicBezTo>
                <a:cubicBezTo>
                  <a:pt x="135" y="193"/>
                  <a:pt x="135" y="193"/>
                  <a:pt x="135" y="193"/>
                </a:cubicBezTo>
                <a:cubicBezTo>
                  <a:pt x="61" y="193"/>
                  <a:pt x="0" y="253"/>
                  <a:pt x="0" y="327"/>
                </a:cubicBezTo>
                <a:cubicBezTo>
                  <a:pt x="0" y="1303"/>
                  <a:pt x="0" y="1303"/>
                  <a:pt x="0" y="1303"/>
                </a:cubicBezTo>
                <a:cubicBezTo>
                  <a:pt x="0" y="1378"/>
                  <a:pt x="61" y="1438"/>
                  <a:pt x="135" y="1438"/>
                </a:cubicBezTo>
                <a:cubicBezTo>
                  <a:pt x="631" y="1438"/>
                  <a:pt x="631" y="1438"/>
                  <a:pt x="631" y="1438"/>
                </a:cubicBezTo>
                <a:cubicBezTo>
                  <a:pt x="705" y="1438"/>
                  <a:pt x="765" y="1378"/>
                  <a:pt x="765" y="1303"/>
                </a:cubicBezTo>
                <a:cubicBezTo>
                  <a:pt x="765" y="327"/>
                  <a:pt x="765" y="327"/>
                  <a:pt x="765" y="327"/>
                </a:cubicBezTo>
                <a:cubicBezTo>
                  <a:pt x="765" y="253"/>
                  <a:pt x="705" y="193"/>
                  <a:pt x="631" y="193"/>
                </a:cubicBezTo>
                <a:close/>
                <a:moveTo>
                  <a:pt x="277" y="98"/>
                </a:moveTo>
                <a:cubicBezTo>
                  <a:pt x="277" y="98"/>
                  <a:pt x="278" y="97"/>
                  <a:pt x="279" y="97"/>
                </a:cubicBezTo>
                <a:cubicBezTo>
                  <a:pt x="487" y="97"/>
                  <a:pt x="487" y="97"/>
                  <a:pt x="487" y="97"/>
                </a:cubicBezTo>
                <a:cubicBezTo>
                  <a:pt x="488" y="97"/>
                  <a:pt x="488" y="98"/>
                  <a:pt x="488" y="98"/>
                </a:cubicBezTo>
                <a:cubicBezTo>
                  <a:pt x="488" y="193"/>
                  <a:pt x="488" y="193"/>
                  <a:pt x="488" y="193"/>
                </a:cubicBezTo>
                <a:cubicBezTo>
                  <a:pt x="277" y="193"/>
                  <a:pt x="277" y="193"/>
                  <a:pt x="277" y="193"/>
                </a:cubicBezTo>
                <a:lnTo>
                  <a:pt x="277" y="98"/>
                </a:lnTo>
                <a:close/>
                <a:moveTo>
                  <a:pt x="668" y="1303"/>
                </a:moveTo>
                <a:cubicBezTo>
                  <a:pt x="668" y="1324"/>
                  <a:pt x="651" y="1340"/>
                  <a:pt x="631" y="1340"/>
                </a:cubicBezTo>
                <a:cubicBezTo>
                  <a:pt x="135" y="1340"/>
                  <a:pt x="135" y="1340"/>
                  <a:pt x="135" y="1340"/>
                </a:cubicBezTo>
                <a:cubicBezTo>
                  <a:pt x="114" y="1340"/>
                  <a:pt x="98" y="1324"/>
                  <a:pt x="98" y="1303"/>
                </a:cubicBezTo>
                <a:cubicBezTo>
                  <a:pt x="98" y="327"/>
                  <a:pt x="98" y="327"/>
                  <a:pt x="98" y="327"/>
                </a:cubicBezTo>
                <a:cubicBezTo>
                  <a:pt x="98" y="307"/>
                  <a:pt x="114" y="290"/>
                  <a:pt x="135" y="290"/>
                </a:cubicBezTo>
                <a:cubicBezTo>
                  <a:pt x="631" y="290"/>
                  <a:pt x="631" y="290"/>
                  <a:pt x="631" y="290"/>
                </a:cubicBezTo>
                <a:cubicBezTo>
                  <a:pt x="651" y="290"/>
                  <a:pt x="668" y="307"/>
                  <a:pt x="668" y="327"/>
                </a:cubicBezTo>
                <a:lnTo>
                  <a:pt x="668" y="1303"/>
                </a:lnTo>
                <a:close/>
                <a:moveTo>
                  <a:pt x="562" y="752"/>
                </a:moveTo>
                <a:cubicBezTo>
                  <a:pt x="404" y="753"/>
                  <a:pt x="404" y="753"/>
                  <a:pt x="404" y="753"/>
                </a:cubicBezTo>
                <a:cubicBezTo>
                  <a:pt x="460" y="453"/>
                  <a:pt x="460" y="453"/>
                  <a:pt x="460" y="453"/>
                </a:cubicBezTo>
                <a:cubicBezTo>
                  <a:pt x="462" y="445"/>
                  <a:pt x="457" y="437"/>
                  <a:pt x="450" y="434"/>
                </a:cubicBezTo>
                <a:cubicBezTo>
                  <a:pt x="442" y="431"/>
                  <a:pt x="434" y="434"/>
                  <a:pt x="430" y="441"/>
                </a:cubicBezTo>
                <a:cubicBezTo>
                  <a:pt x="191" y="854"/>
                  <a:pt x="191" y="854"/>
                  <a:pt x="191" y="854"/>
                </a:cubicBezTo>
                <a:cubicBezTo>
                  <a:pt x="188" y="859"/>
                  <a:pt x="188" y="865"/>
                  <a:pt x="191" y="870"/>
                </a:cubicBezTo>
                <a:cubicBezTo>
                  <a:pt x="194" y="875"/>
                  <a:pt x="200" y="879"/>
                  <a:pt x="206" y="879"/>
                </a:cubicBezTo>
                <a:cubicBezTo>
                  <a:pt x="206" y="879"/>
                  <a:pt x="206" y="879"/>
                  <a:pt x="206" y="879"/>
                </a:cubicBezTo>
                <a:cubicBezTo>
                  <a:pt x="364" y="878"/>
                  <a:pt x="364" y="878"/>
                  <a:pt x="364" y="878"/>
                </a:cubicBezTo>
                <a:cubicBezTo>
                  <a:pt x="307" y="1178"/>
                  <a:pt x="307" y="1178"/>
                  <a:pt x="307" y="1178"/>
                </a:cubicBezTo>
                <a:cubicBezTo>
                  <a:pt x="306" y="1186"/>
                  <a:pt x="310" y="1194"/>
                  <a:pt x="318" y="1197"/>
                </a:cubicBezTo>
                <a:cubicBezTo>
                  <a:pt x="320" y="1197"/>
                  <a:pt x="322" y="1198"/>
                  <a:pt x="324" y="1198"/>
                </a:cubicBezTo>
                <a:cubicBezTo>
                  <a:pt x="330" y="1198"/>
                  <a:pt x="335" y="1195"/>
                  <a:pt x="338" y="1189"/>
                </a:cubicBezTo>
                <a:cubicBezTo>
                  <a:pt x="576" y="777"/>
                  <a:pt x="576" y="777"/>
                  <a:pt x="576" y="777"/>
                </a:cubicBezTo>
                <a:cubicBezTo>
                  <a:pt x="579" y="772"/>
                  <a:pt x="579" y="766"/>
                  <a:pt x="576" y="760"/>
                </a:cubicBezTo>
                <a:cubicBezTo>
                  <a:pt x="574" y="755"/>
                  <a:pt x="568" y="752"/>
                  <a:pt x="562" y="7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4" name="Freeform 114"/>
          <p:cNvSpPr>
            <a:spLocks noEditPoints="1"/>
          </p:cNvSpPr>
          <p:nvPr userDrawn="1"/>
        </p:nvSpPr>
        <p:spPr bwMode="auto">
          <a:xfrm>
            <a:off x="92876" y="6154858"/>
            <a:ext cx="637164" cy="637074"/>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65" name="Group 164"/>
          <p:cNvGrpSpPr/>
          <p:nvPr userDrawn="1"/>
        </p:nvGrpSpPr>
        <p:grpSpPr>
          <a:xfrm>
            <a:off x="3665892" y="6798284"/>
            <a:ext cx="403719" cy="404362"/>
            <a:chOff x="-1976437" y="-1354138"/>
            <a:chExt cx="2749550" cy="2754313"/>
          </a:xfrm>
          <a:solidFill>
            <a:schemeClr val="bg1">
              <a:lumMod val="85000"/>
            </a:schemeClr>
          </a:solidFill>
        </p:grpSpPr>
        <p:sp>
          <p:nvSpPr>
            <p:cNvPr id="166" name="Freeform 118"/>
            <p:cNvSpPr>
              <a:spLocks/>
            </p:cNvSpPr>
            <p:nvPr/>
          </p:nvSpPr>
          <p:spPr bwMode="auto">
            <a:xfrm>
              <a:off x="-1976437" y="130175"/>
              <a:ext cx="1268413" cy="1270000"/>
            </a:xfrm>
            <a:custGeom>
              <a:avLst/>
              <a:gdLst>
                <a:gd name="T0" fmla="*/ 270 w 337"/>
                <a:gd name="T1" fmla="*/ 0 h 337"/>
                <a:gd name="T2" fmla="*/ 337 w 337"/>
                <a:gd name="T3" fmla="*/ 67 h 337"/>
                <a:gd name="T4" fmla="*/ 337 w 337"/>
                <a:gd name="T5" fmla="*/ 269 h 337"/>
                <a:gd name="T6" fmla="*/ 270 w 337"/>
                <a:gd name="T7" fmla="*/ 337 h 337"/>
                <a:gd name="T8" fmla="*/ 67 w 337"/>
                <a:gd name="T9" fmla="*/ 337 h 337"/>
                <a:gd name="T10" fmla="*/ 0 w 337"/>
                <a:gd name="T11" fmla="*/ 269 h 337"/>
                <a:gd name="T12" fmla="*/ 0 w 337"/>
                <a:gd name="T13" fmla="*/ 67 h 337"/>
                <a:gd name="T14" fmla="*/ 67 w 337"/>
                <a:gd name="T15" fmla="*/ 0 h 337"/>
                <a:gd name="T16" fmla="*/ 270 w 337"/>
                <a:gd name="T17"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7" h="337">
                  <a:moveTo>
                    <a:pt x="270" y="0"/>
                  </a:moveTo>
                  <a:cubicBezTo>
                    <a:pt x="315" y="0"/>
                    <a:pt x="337" y="22"/>
                    <a:pt x="337" y="67"/>
                  </a:cubicBezTo>
                  <a:cubicBezTo>
                    <a:pt x="337" y="269"/>
                    <a:pt x="337" y="269"/>
                    <a:pt x="337" y="269"/>
                  </a:cubicBezTo>
                  <a:cubicBezTo>
                    <a:pt x="337" y="314"/>
                    <a:pt x="315" y="337"/>
                    <a:pt x="270" y="337"/>
                  </a:cubicBezTo>
                  <a:cubicBezTo>
                    <a:pt x="67" y="337"/>
                    <a:pt x="67" y="337"/>
                    <a:pt x="67" y="337"/>
                  </a:cubicBezTo>
                  <a:cubicBezTo>
                    <a:pt x="22" y="337"/>
                    <a:pt x="0" y="314"/>
                    <a:pt x="0" y="269"/>
                  </a:cubicBezTo>
                  <a:cubicBezTo>
                    <a:pt x="0" y="67"/>
                    <a:pt x="0" y="67"/>
                    <a:pt x="0" y="67"/>
                  </a:cubicBezTo>
                  <a:cubicBezTo>
                    <a:pt x="0" y="22"/>
                    <a:pt x="22" y="0"/>
                    <a:pt x="67" y="0"/>
                  </a:cubicBezTo>
                  <a:lnTo>
                    <a:pt x="27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7" name="Freeform 119"/>
            <p:cNvSpPr>
              <a:spLocks/>
            </p:cNvSpPr>
            <p:nvPr/>
          </p:nvSpPr>
          <p:spPr bwMode="auto">
            <a:xfrm>
              <a:off x="-1976437" y="-1349375"/>
              <a:ext cx="1268413" cy="1268413"/>
            </a:xfrm>
            <a:custGeom>
              <a:avLst/>
              <a:gdLst>
                <a:gd name="T0" fmla="*/ 270 w 337"/>
                <a:gd name="T1" fmla="*/ 0 h 337"/>
                <a:gd name="T2" fmla="*/ 337 w 337"/>
                <a:gd name="T3" fmla="*/ 68 h 337"/>
                <a:gd name="T4" fmla="*/ 337 w 337"/>
                <a:gd name="T5" fmla="*/ 269 h 337"/>
                <a:gd name="T6" fmla="*/ 270 w 337"/>
                <a:gd name="T7" fmla="*/ 337 h 337"/>
                <a:gd name="T8" fmla="*/ 67 w 337"/>
                <a:gd name="T9" fmla="*/ 337 h 337"/>
                <a:gd name="T10" fmla="*/ 0 w 337"/>
                <a:gd name="T11" fmla="*/ 269 h 337"/>
                <a:gd name="T12" fmla="*/ 0 w 337"/>
                <a:gd name="T13" fmla="*/ 68 h 337"/>
                <a:gd name="T14" fmla="*/ 67 w 337"/>
                <a:gd name="T15" fmla="*/ 0 h 337"/>
                <a:gd name="T16" fmla="*/ 270 w 337"/>
                <a:gd name="T17"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7" h="337">
                  <a:moveTo>
                    <a:pt x="270" y="0"/>
                  </a:moveTo>
                  <a:cubicBezTo>
                    <a:pt x="315" y="0"/>
                    <a:pt x="337" y="23"/>
                    <a:pt x="337" y="68"/>
                  </a:cubicBezTo>
                  <a:cubicBezTo>
                    <a:pt x="337" y="269"/>
                    <a:pt x="337" y="269"/>
                    <a:pt x="337" y="269"/>
                  </a:cubicBezTo>
                  <a:cubicBezTo>
                    <a:pt x="337" y="315"/>
                    <a:pt x="315" y="337"/>
                    <a:pt x="270" y="337"/>
                  </a:cubicBezTo>
                  <a:cubicBezTo>
                    <a:pt x="67" y="337"/>
                    <a:pt x="67" y="337"/>
                    <a:pt x="67" y="337"/>
                  </a:cubicBezTo>
                  <a:cubicBezTo>
                    <a:pt x="22" y="337"/>
                    <a:pt x="0" y="315"/>
                    <a:pt x="0" y="269"/>
                  </a:cubicBezTo>
                  <a:cubicBezTo>
                    <a:pt x="0" y="68"/>
                    <a:pt x="0" y="68"/>
                    <a:pt x="0" y="68"/>
                  </a:cubicBezTo>
                  <a:cubicBezTo>
                    <a:pt x="0" y="23"/>
                    <a:pt x="22" y="0"/>
                    <a:pt x="67" y="0"/>
                  </a:cubicBezTo>
                  <a:lnTo>
                    <a:pt x="27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8" name="Freeform 120"/>
            <p:cNvSpPr>
              <a:spLocks noEditPoints="1"/>
            </p:cNvSpPr>
            <p:nvPr/>
          </p:nvSpPr>
          <p:spPr bwMode="auto">
            <a:xfrm>
              <a:off x="-504825" y="-1354138"/>
              <a:ext cx="1277938" cy="1273175"/>
            </a:xfrm>
            <a:custGeom>
              <a:avLst/>
              <a:gdLst>
                <a:gd name="T0" fmla="*/ 257 w 339"/>
                <a:gd name="T1" fmla="*/ 0 h 338"/>
                <a:gd name="T2" fmla="*/ 81 w 339"/>
                <a:gd name="T3" fmla="*/ 0 h 338"/>
                <a:gd name="T4" fmla="*/ 0 w 339"/>
                <a:gd name="T5" fmla="*/ 81 h 338"/>
                <a:gd name="T6" fmla="*/ 0 w 339"/>
                <a:gd name="T7" fmla="*/ 257 h 338"/>
                <a:gd name="T8" fmla="*/ 81 w 339"/>
                <a:gd name="T9" fmla="*/ 338 h 338"/>
                <a:gd name="T10" fmla="*/ 257 w 339"/>
                <a:gd name="T11" fmla="*/ 338 h 338"/>
                <a:gd name="T12" fmla="*/ 339 w 339"/>
                <a:gd name="T13" fmla="*/ 257 h 338"/>
                <a:gd name="T14" fmla="*/ 339 w 339"/>
                <a:gd name="T15" fmla="*/ 81 h 338"/>
                <a:gd name="T16" fmla="*/ 257 w 339"/>
                <a:gd name="T17" fmla="*/ 0 h 338"/>
                <a:gd name="T18" fmla="*/ 293 w 339"/>
                <a:gd name="T19" fmla="*/ 257 h 338"/>
                <a:gd name="T20" fmla="*/ 257 w 339"/>
                <a:gd name="T21" fmla="*/ 293 h 338"/>
                <a:gd name="T22" fmla="*/ 81 w 339"/>
                <a:gd name="T23" fmla="*/ 293 h 338"/>
                <a:gd name="T24" fmla="*/ 45 w 339"/>
                <a:gd name="T25" fmla="*/ 257 h 338"/>
                <a:gd name="T26" fmla="*/ 45 w 339"/>
                <a:gd name="T27" fmla="*/ 81 h 338"/>
                <a:gd name="T28" fmla="*/ 81 w 339"/>
                <a:gd name="T29" fmla="*/ 45 h 338"/>
                <a:gd name="T30" fmla="*/ 257 w 339"/>
                <a:gd name="T31" fmla="*/ 45 h 338"/>
                <a:gd name="T32" fmla="*/ 293 w 339"/>
                <a:gd name="T33" fmla="*/ 81 h 338"/>
                <a:gd name="T34" fmla="*/ 293 w 339"/>
                <a:gd name="T35" fmla="*/ 257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338">
                  <a:moveTo>
                    <a:pt x="257" y="0"/>
                  </a:moveTo>
                  <a:cubicBezTo>
                    <a:pt x="81" y="0"/>
                    <a:pt x="81" y="0"/>
                    <a:pt x="81" y="0"/>
                  </a:cubicBezTo>
                  <a:cubicBezTo>
                    <a:pt x="27" y="0"/>
                    <a:pt x="0" y="27"/>
                    <a:pt x="0" y="81"/>
                  </a:cubicBezTo>
                  <a:cubicBezTo>
                    <a:pt x="0" y="257"/>
                    <a:pt x="0" y="257"/>
                    <a:pt x="0" y="257"/>
                  </a:cubicBezTo>
                  <a:cubicBezTo>
                    <a:pt x="0" y="311"/>
                    <a:pt x="27" y="338"/>
                    <a:pt x="81" y="338"/>
                  </a:cubicBezTo>
                  <a:cubicBezTo>
                    <a:pt x="257" y="338"/>
                    <a:pt x="257" y="338"/>
                    <a:pt x="257" y="338"/>
                  </a:cubicBezTo>
                  <a:cubicBezTo>
                    <a:pt x="312" y="338"/>
                    <a:pt x="339" y="311"/>
                    <a:pt x="339" y="257"/>
                  </a:cubicBezTo>
                  <a:cubicBezTo>
                    <a:pt x="339" y="81"/>
                    <a:pt x="339" y="81"/>
                    <a:pt x="339" y="81"/>
                  </a:cubicBezTo>
                  <a:cubicBezTo>
                    <a:pt x="339" y="27"/>
                    <a:pt x="312" y="0"/>
                    <a:pt x="257" y="0"/>
                  </a:cubicBezTo>
                  <a:close/>
                  <a:moveTo>
                    <a:pt x="293" y="257"/>
                  </a:moveTo>
                  <a:cubicBezTo>
                    <a:pt x="293" y="281"/>
                    <a:pt x="281" y="293"/>
                    <a:pt x="257" y="293"/>
                  </a:cubicBezTo>
                  <a:cubicBezTo>
                    <a:pt x="81" y="293"/>
                    <a:pt x="81" y="293"/>
                    <a:pt x="81" y="293"/>
                  </a:cubicBezTo>
                  <a:cubicBezTo>
                    <a:pt x="57" y="293"/>
                    <a:pt x="45" y="281"/>
                    <a:pt x="45" y="257"/>
                  </a:cubicBezTo>
                  <a:cubicBezTo>
                    <a:pt x="45" y="81"/>
                    <a:pt x="45" y="81"/>
                    <a:pt x="45" y="81"/>
                  </a:cubicBezTo>
                  <a:cubicBezTo>
                    <a:pt x="45" y="57"/>
                    <a:pt x="57" y="45"/>
                    <a:pt x="81" y="45"/>
                  </a:cubicBezTo>
                  <a:cubicBezTo>
                    <a:pt x="257" y="45"/>
                    <a:pt x="257" y="45"/>
                    <a:pt x="257" y="45"/>
                  </a:cubicBezTo>
                  <a:cubicBezTo>
                    <a:pt x="281" y="45"/>
                    <a:pt x="293" y="57"/>
                    <a:pt x="293" y="81"/>
                  </a:cubicBezTo>
                  <a:lnTo>
                    <a:pt x="293" y="25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69" name="Freeform 121"/>
            <p:cNvSpPr>
              <a:spLocks/>
            </p:cNvSpPr>
            <p:nvPr/>
          </p:nvSpPr>
          <p:spPr bwMode="auto">
            <a:xfrm>
              <a:off x="-500062" y="130175"/>
              <a:ext cx="1273175" cy="1270000"/>
            </a:xfrm>
            <a:custGeom>
              <a:avLst/>
              <a:gdLst>
                <a:gd name="T0" fmla="*/ 0 w 338"/>
                <a:gd name="T1" fmla="*/ 67 h 337"/>
                <a:gd name="T2" fmla="*/ 68 w 338"/>
                <a:gd name="T3" fmla="*/ 0 h 337"/>
                <a:gd name="T4" fmla="*/ 270 w 338"/>
                <a:gd name="T5" fmla="*/ 0 h 337"/>
                <a:gd name="T6" fmla="*/ 338 w 338"/>
                <a:gd name="T7" fmla="*/ 67 h 337"/>
                <a:gd name="T8" fmla="*/ 338 w 338"/>
                <a:gd name="T9" fmla="*/ 269 h 337"/>
                <a:gd name="T10" fmla="*/ 270 w 338"/>
                <a:gd name="T11" fmla="*/ 337 h 337"/>
                <a:gd name="T12" fmla="*/ 68 w 338"/>
                <a:gd name="T13" fmla="*/ 337 h 337"/>
                <a:gd name="T14" fmla="*/ 0 w 338"/>
                <a:gd name="T15" fmla="*/ 269 h 337"/>
                <a:gd name="T16" fmla="*/ 0 w 338"/>
                <a:gd name="T17" fmla="*/ 67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 h="337">
                  <a:moveTo>
                    <a:pt x="0" y="67"/>
                  </a:moveTo>
                  <a:cubicBezTo>
                    <a:pt x="0" y="22"/>
                    <a:pt x="23" y="0"/>
                    <a:pt x="68" y="0"/>
                  </a:cubicBezTo>
                  <a:cubicBezTo>
                    <a:pt x="270" y="0"/>
                    <a:pt x="270" y="0"/>
                    <a:pt x="270" y="0"/>
                  </a:cubicBezTo>
                  <a:cubicBezTo>
                    <a:pt x="315" y="0"/>
                    <a:pt x="338" y="22"/>
                    <a:pt x="338" y="67"/>
                  </a:cubicBezTo>
                  <a:cubicBezTo>
                    <a:pt x="338" y="269"/>
                    <a:pt x="338" y="269"/>
                    <a:pt x="338" y="269"/>
                  </a:cubicBezTo>
                  <a:cubicBezTo>
                    <a:pt x="338" y="314"/>
                    <a:pt x="315" y="337"/>
                    <a:pt x="270" y="337"/>
                  </a:cubicBezTo>
                  <a:cubicBezTo>
                    <a:pt x="68" y="337"/>
                    <a:pt x="68" y="337"/>
                    <a:pt x="68" y="337"/>
                  </a:cubicBezTo>
                  <a:cubicBezTo>
                    <a:pt x="23" y="337"/>
                    <a:pt x="0" y="314"/>
                    <a:pt x="0" y="269"/>
                  </a:cubicBezTo>
                  <a:lnTo>
                    <a:pt x="0" y="6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170" name="Group 169"/>
          <p:cNvGrpSpPr/>
          <p:nvPr userDrawn="1"/>
        </p:nvGrpSpPr>
        <p:grpSpPr>
          <a:xfrm>
            <a:off x="12163482" y="1806756"/>
            <a:ext cx="721926" cy="763181"/>
            <a:chOff x="-2947988" y="774700"/>
            <a:chExt cx="2936875" cy="3105151"/>
          </a:xfrm>
          <a:solidFill>
            <a:schemeClr val="bg1">
              <a:lumMod val="85000"/>
            </a:schemeClr>
          </a:solidFill>
        </p:grpSpPr>
        <p:sp>
          <p:nvSpPr>
            <p:cNvPr id="171" name="Freeform 125"/>
            <p:cNvSpPr>
              <a:spLocks/>
            </p:cNvSpPr>
            <p:nvPr/>
          </p:nvSpPr>
          <p:spPr bwMode="auto">
            <a:xfrm>
              <a:off x="-2947988" y="774700"/>
              <a:ext cx="2936875" cy="1779588"/>
            </a:xfrm>
            <a:custGeom>
              <a:avLst/>
              <a:gdLst>
                <a:gd name="T0" fmla="*/ 390 w 780"/>
                <a:gd name="T1" fmla="*/ 0 h 473"/>
                <a:gd name="T2" fmla="*/ 401 w 780"/>
                <a:gd name="T3" fmla="*/ 4 h 473"/>
                <a:gd name="T4" fmla="*/ 768 w 780"/>
                <a:gd name="T5" fmla="*/ 216 h 473"/>
                <a:gd name="T6" fmla="*/ 778 w 780"/>
                <a:gd name="T7" fmla="*/ 228 h 473"/>
                <a:gd name="T8" fmla="*/ 778 w 780"/>
                <a:gd name="T9" fmla="*/ 243 h 473"/>
                <a:gd name="T10" fmla="*/ 768 w 780"/>
                <a:gd name="T11" fmla="*/ 255 h 473"/>
                <a:gd name="T12" fmla="*/ 401 w 780"/>
                <a:gd name="T13" fmla="*/ 468 h 473"/>
                <a:gd name="T14" fmla="*/ 396 w 780"/>
                <a:gd name="T15" fmla="*/ 470 h 473"/>
                <a:gd name="T16" fmla="*/ 390 w 780"/>
                <a:gd name="T17" fmla="*/ 473 h 473"/>
                <a:gd name="T18" fmla="*/ 384 w 780"/>
                <a:gd name="T19" fmla="*/ 470 h 473"/>
                <a:gd name="T20" fmla="*/ 379 w 780"/>
                <a:gd name="T21" fmla="*/ 468 h 473"/>
                <a:gd name="T22" fmla="*/ 12 w 780"/>
                <a:gd name="T23" fmla="*/ 255 h 473"/>
                <a:gd name="T24" fmla="*/ 2 w 780"/>
                <a:gd name="T25" fmla="*/ 243 h 473"/>
                <a:gd name="T26" fmla="*/ 2 w 780"/>
                <a:gd name="T27" fmla="*/ 228 h 473"/>
                <a:gd name="T28" fmla="*/ 12 w 780"/>
                <a:gd name="T29" fmla="*/ 216 h 473"/>
                <a:gd name="T30" fmla="*/ 379 w 780"/>
                <a:gd name="T31" fmla="*/ 4 h 473"/>
                <a:gd name="T32" fmla="*/ 390 w 780"/>
                <a:gd name="T33"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73">
                  <a:moveTo>
                    <a:pt x="390" y="0"/>
                  </a:moveTo>
                  <a:cubicBezTo>
                    <a:pt x="394" y="0"/>
                    <a:pt x="398" y="1"/>
                    <a:pt x="401" y="4"/>
                  </a:cubicBezTo>
                  <a:cubicBezTo>
                    <a:pt x="768" y="216"/>
                    <a:pt x="768" y="216"/>
                    <a:pt x="768" y="216"/>
                  </a:cubicBezTo>
                  <a:cubicBezTo>
                    <a:pt x="773" y="219"/>
                    <a:pt x="776" y="223"/>
                    <a:pt x="778" y="228"/>
                  </a:cubicBezTo>
                  <a:cubicBezTo>
                    <a:pt x="780" y="233"/>
                    <a:pt x="780" y="238"/>
                    <a:pt x="778" y="243"/>
                  </a:cubicBezTo>
                  <a:cubicBezTo>
                    <a:pt x="776" y="248"/>
                    <a:pt x="773" y="252"/>
                    <a:pt x="768" y="255"/>
                  </a:cubicBezTo>
                  <a:cubicBezTo>
                    <a:pt x="401" y="468"/>
                    <a:pt x="401" y="468"/>
                    <a:pt x="401" y="468"/>
                  </a:cubicBezTo>
                  <a:cubicBezTo>
                    <a:pt x="400" y="468"/>
                    <a:pt x="398" y="469"/>
                    <a:pt x="396" y="470"/>
                  </a:cubicBezTo>
                  <a:cubicBezTo>
                    <a:pt x="390" y="473"/>
                    <a:pt x="390" y="473"/>
                    <a:pt x="390" y="473"/>
                  </a:cubicBezTo>
                  <a:cubicBezTo>
                    <a:pt x="384" y="470"/>
                    <a:pt x="384" y="470"/>
                    <a:pt x="384" y="470"/>
                  </a:cubicBezTo>
                  <a:cubicBezTo>
                    <a:pt x="382" y="469"/>
                    <a:pt x="380" y="468"/>
                    <a:pt x="379" y="468"/>
                  </a:cubicBezTo>
                  <a:cubicBezTo>
                    <a:pt x="12" y="255"/>
                    <a:pt x="12" y="255"/>
                    <a:pt x="12" y="255"/>
                  </a:cubicBezTo>
                  <a:cubicBezTo>
                    <a:pt x="7" y="252"/>
                    <a:pt x="4" y="248"/>
                    <a:pt x="2" y="243"/>
                  </a:cubicBezTo>
                  <a:cubicBezTo>
                    <a:pt x="0" y="238"/>
                    <a:pt x="0" y="233"/>
                    <a:pt x="2" y="228"/>
                  </a:cubicBezTo>
                  <a:cubicBezTo>
                    <a:pt x="4" y="223"/>
                    <a:pt x="7" y="219"/>
                    <a:pt x="12" y="216"/>
                  </a:cubicBezTo>
                  <a:cubicBezTo>
                    <a:pt x="379" y="4"/>
                    <a:pt x="379" y="4"/>
                    <a:pt x="379" y="4"/>
                  </a:cubicBezTo>
                  <a:cubicBezTo>
                    <a:pt x="382" y="1"/>
                    <a:pt x="386" y="0"/>
                    <a:pt x="39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72" name="Freeform 126"/>
            <p:cNvSpPr>
              <a:spLocks/>
            </p:cNvSpPr>
            <p:nvPr/>
          </p:nvSpPr>
          <p:spPr bwMode="auto">
            <a:xfrm>
              <a:off x="-2947988" y="2760663"/>
              <a:ext cx="2936875" cy="1119188"/>
            </a:xfrm>
            <a:custGeom>
              <a:avLst/>
              <a:gdLst>
                <a:gd name="T0" fmla="*/ 367 w 780"/>
                <a:gd name="T1" fmla="*/ 163 h 297"/>
                <a:gd name="T2" fmla="*/ 368 w 780"/>
                <a:gd name="T3" fmla="*/ 163 h 297"/>
                <a:gd name="T4" fmla="*/ 390 w 780"/>
                <a:gd name="T5" fmla="*/ 169 h 297"/>
                <a:gd name="T6" fmla="*/ 413 w 780"/>
                <a:gd name="T7" fmla="*/ 163 h 297"/>
                <a:gd name="T8" fmla="*/ 695 w 780"/>
                <a:gd name="T9" fmla="*/ 0 h 297"/>
                <a:gd name="T10" fmla="*/ 768 w 780"/>
                <a:gd name="T11" fmla="*/ 42 h 297"/>
                <a:gd name="T12" fmla="*/ 778 w 780"/>
                <a:gd name="T13" fmla="*/ 54 h 297"/>
                <a:gd name="T14" fmla="*/ 778 w 780"/>
                <a:gd name="T15" fmla="*/ 70 h 297"/>
                <a:gd name="T16" fmla="*/ 768 w 780"/>
                <a:gd name="T17" fmla="*/ 82 h 297"/>
                <a:gd name="T18" fmla="*/ 401 w 780"/>
                <a:gd name="T19" fmla="*/ 294 h 297"/>
                <a:gd name="T20" fmla="*/ 390 w 780"/>
                <a:gd name="T21" fmla="*/ 297 h 297"/>
                <a:gd name="T22" fmla="*/ 379 w 780"/>
                <a:gd name="T23" fmla="*/ 294 h 297"/>
                <a:gd name="T24" fmla="*/ 12 w 780"/>
                <a:gd name="T25" fmla="*/ 82 h 297"/>
                <a:gd name="T26" fmla="*/ 2 w 780"/>
                <a:gd name="T27" fmla="*/ 70 h 297"/>
                <a:gd name="T28" fmla="*/ 2 w 780"/>
                <a:gd name="T29" fmla="*/ 54 h 297"/>
                <a:gd name="T30" fmla="*/ 12 w 780"/>
                <a:gd name="T31" fmla="*/ 42 h 297"/>
                <a:gd name="T32" fmla="*/ 86 w 780"/>
                <a:gd name="T33" fmla="*/ 0 h 297"/>
                <a:gd name="T34" fmla="*/ 367 w 780"/>
                <a:gd name="T35" fmla="*/ 16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7">
                  <a:moveTo>
                    <a:pt x="367" y="163"/>
                  </a:moveTo>
                  <a:cubicBezTo>
                    <a:pt x="368" y="163"/>
                    <a:pt x="368" y="163"/>
                    <a:pt x="368" y="163"/>
                  </a:cubicBezTo>
                  <a:cubicBezTo>
                    <a:pt x="374" y="167"/>
                    <a:pt x="382" y="169"/>
                    <a:pt x="390" y="169"/>
                  </a:cubicBezTo>
                  <a:cubicBezTo>
                    <a:pt x="398" y="169"/>
                    <a:pt x="406" y="167"/>
                    <a:pt x="413" y="163"/>
                  </a:cubicBezTo>
                  <a:cubicBezTo>
                    <a:pt x="695" y="0"/>
                    <a:pt x="695" y="0"/>
                    <a:pt x="695" y="0"/>
                  </a:cubicBezTo>
                  <a:cubicBezTo>
                    <a:pt x="768" y="42"/>
                    <a:pt x="768" y="42"/>
                    <a:pt x="768" y="42"/>
                  </a:cubicBezTo>
                  <a:cubicBezTo>
                    <a:pt x="773" y="45"/>
                    <a:pt x="776" y="49"/>
                    <a:pt x="778" y="54"/>
                  </a:cubicBezTo>
                  <a:cubicBezTo>
                    <a:pt x="780" y="59"/>
                    <a:pt x="780" y="65"/>
                    <a:pt x="778" y="70"/>
                  </a:cubicBezTo>
                  <a:cubicBezTo>
                    <a:pt x="776" y="75"/>
                    <a:pt x="773" y="79"/>
                    <a:pt x="768" y="82"/>
                  </a:cubicBezTo>
                  <a:cubicBezTo>
                    <a:pt x="401" y="294"/>
                    <a:pt x="401" y="294"/>
                    <a:pt x="401" y="294"/>
                  </a:cubicBezTo>
                  <a:cubicBezTo>
                    <a:pt x="398" y="296"/>
                    <a:pt x="394" y="297"/>
                    <a:pt x="390" y="297"/>
                  </a:cubicBezTo>
                  <a:cubicBezTo>
                    <a:pt x="386" y="297"/>
                    <a:pt x="382" y="296"/>
                    <a:pt x="379" y="294"/>
                  </a:cubicBezTo>
                  <a:cubicBezTo>
                    <a:pt x="12" y="82"/>
                    <a:pt x="12" y="82"/>
                    <a:pt x="12" y="82"/>
                  </a:cubicBezTo>
                  <a:cubicBezTo>
                    <a:pt x="7" y="79"/>
                    <a:pt x="4" y="75"/>
                    <a:pt x="2" y="70"/>
                  </a:cubicBezTo>
                  <a:cubicBezTo>
                    <a:pt x="0" y="65"/>
                    <a:pt x="0" y="59"/>
                    <a:pt x="2" y="54"/>
                  </a:cubicBezTo>
                  <a:cubicBezTo>
                    <a:pt x="4" y="49"/>
                    <a:pt x="7" y="45"/>
                    <a:pt x="12" y="42"/>
                  </a:cubicBezTo>
                  <a:cubicBezTo>
                    <a:pt x="86" y="0"/>
                    <a:pt x="86" y="0"/>
                    <a:pt x="86" y="0"/>
                  </a:cubicBezTo>
                  <a:lnTo>
                    <a:pt x="367" y="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73" name="Freeform 127"/>
            <p:cNvSpPr>
              <a:spLocks/>
            </p:cNvSpPr>
            <p:nvPr/>
          </p:nvSpPr>
          <p:spPr bwMode="auto">
            <a:xfrm>
              <a:off x="-2947988" y="2090738"/>
              <a:ext cx="2936875" cy="1114425"/>
            </a:xfrm>
            <a:custGeom>
              <a:avLst/>
              <a:gdLst>
                <a:gd name="T0" fmla="*/ 778 w 780"/>
                <a:gd name="T1" fmla="*/ 70 h 296"/>
                <a:gd name="T2" fmla="*/ 768 w 780"/>
                <a:gd name="T3" fmla="*/ 82 h 296"/>
                <a:gd name="T4" fmla="*/ 401 w 780"/>
                <a:gd name="T5" fmla="*/ 294 h 296"/>
                <a:gd name="T6" fmla="*/ 390 w 780"/>
                <a:gd name="T7" fmla="*/ 296 h 296"/>
                <a:gd name="T8" fmla="*/ 379 w 780"/>
                <a:gd name="T9" fmla="*/ 294 h 296"/>
                <a:gd name="T10" fmla="*/ 12 w 780"/>
                <a:gd name="T11" fmla="*/ 82 h 296"/>
                <a:gd name="T12" fmla="*/ 2 w 780"/>
                <a:gd name="T13" fmla="*/ 70 h 296"/>
                <a:gd name="T14" fmla="*/ 2 w 780"/>
                <a:gd name="T15" fmla="*/ 54 h 296"/>
                <a:gd name="T16" fmla="*/ 12 w 780"/>
                <a:gd name="T17" fmla="*/ 42 h 296"/>
                <a:gd name="T18" fmla="*/ 86 w 780"/>
                <a:gd name="T19" fmla="*/ 0 h 296"/>
                <a:gd name="T20" fmla="*/ 367 w 780"/>
                <a:gd name="T21" fmla="*/ 163 h 296"/>
                <a:gd name="T22" fmla="*/ 368 w 780"/>
                <a:gd name="T23" fmla="*/ 163 h 296"/>
                <a:gd name="T24" fmla="*/ 390 w 780"/>
                <a:gd name="T25" fmla="*/ 168 h 296"/>
                <a:gd name="T26" fmla="*/ 413 w 780"/>
                <a:gd name="T27" fmla="*/ 163 h 296"/>
                <a:gd name="T28" fmla="*/ 695 w 780"/>
                <a:gd name="T29" fmla="*/ 0 h 296"/>
                <a:gd name="T30" fmla="*/ 768 w 780"/>
                <a:gd name="T31" fmla="*/ 42 h 296"/>
                <a:gd name="T32" fmla="*/ 778 w 780"/>
                <a:gd name="T33" fmla="*/ 54 h 296"/>
                <a:gd name="T34" fmla="*/ 778 w 780"/>
                <a:gd name="T35" fmla="*/ 7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6">
                  <a:moveTo>
                    <a:pt x="778" y="70"/>
                  </a:moveTo>
                  <a:cubicBezTo>
                    <a:pt x="776" y="74"/>
                    <a:pt x="773" y="78"/>
                    <a:pt x="768" y="82"/>
                  </a:cubicBezTo>
                  <a:cubicBezTo>
                    <a:pt x="401" y="294"/>
                    <a:pt x="401" y="294"/>
                    <a:pt x="401" y="294"/>
                  </a:cubicBezTo>
                  <a:cubicBezTo>
                    <a:pt x="398" y="295"/>
                    <a:pt x="394" y="296"/>
                    <a:pt x="390" y="296"/>
                  </a:cubicBezTo>
                  <a:cubicBezTo>
                    <a:pt x="386" y="296"/>
                    <a:pt x="382" y="295"/>
                    <a:pt x="379" y="294"/>
                  </a:cubicBezTo>
                  <a:cubicBezTo>
                    <a:pt x="12" y="82"/>
                    <a:pt x="12" y="82"/>
                    <a:pt x="12" y="82"/>
                  </a:cubicBezTo>
                  <a:cubicBezTo>
                    <a:pt x="7" y="78"/>
                    <a:pt x="4" y="74"/>
                    <a:pt x="2" y="70"/>
                  </a:cubicBezTo>
                  <a:cubicBezTo>
                    <a:pt x="0" y="64"/>
                    <a:pt x="0" y="59"/>
                    <a:pt x="2" y="54"/>
                  </a:cubicBezTo>
                  <a:cubicBezTo>
                    <a:pt x="4" y="49"/>
                    <a:pt x="7" y="45"/>
                    <a:pt x="12" y="42"/>
                  </a:cubicBezTo>
                  <a:cubicBezTo>
                    <a:pt x="86" y="0"/>
                    <a:pt x="86" y="0"/>
                    <a:pt x="86" y="0"/>
                  </a:cubicBezTo>
                  <a:cubicBezTo>
                    <a:pt x="367" y="163"/>
                    <a:pt x="367" y="163"/>
                    <a:pt x="367" y="163"/>
                  </a:cubicBezTo>
                  <a:cubicBezTo>
                    <a:pt x="368" y="163"/>
                    <a:pt x="368" y="163"/>
                    <a:pt x="368" y="163"/>
                  </a:cubicBezTo>
                  <a:cubicBezTo>
                    <a:pt x="374" y="167"/>
                    <a:pt x="382" y="168"/>
                    <a:pt x="390" y="168"/>
                  </a:cubicBezTo>
                  <a:cubicBezTo>
                    <a:pt x="398" y="168"/>
                    <a:pt x="406" y="167"/>
                    <a:pt x="413" y="163"/>
                  </a:cubicBezTo>
                  <a:cubicBezTo>
                    <a:pt x="695" y="0"/>
                    <a:pt x="695" y="0"/>
                    <a:pt x="695" y="0"/>
                  </a:cubicBezTo>
                  <a:cubicBezTo>
                    <a:pt x="768" y="42"/>
                    <a:pt x="768" y="42"/>
                    <a:pt x="768" y="42"/>
                  </a:cubicBezTo>
                  <a:cubicBezTo>
                    <a:pt x="773" y="45"/>
                    <a:pt x="776" y="49"/>
                    <a:pt x="778" y="54"/>
                  </a:cubicBezTo>
                  <a:cubicBezTo>
                    <a:pt x="780" y="59"/>
                    <a:pt x="780" y="64"/>
                    <a:pt x="778" y="7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174" name="Freeform 135"/>
          <p:cNvSpPr>
            <a:spLocks noEditPoints="1"/>
          </p:cNvSpPr>
          <p:nvPr userDrawn="1"/>
        </p:nvSpPr>
        <p:spPr bwMode="auto">
          <a:xfrm>
            <a:off x="2533791" y="850578"/>
            <a:ext cx="489584" cy="489515"/>
          </a:xfrm>
          <a:custGeom>
            <a:avLst/>
            <a:gdLst>
              <a:gd name="T0" fmla="*/ 680 w 779"/>
              <a:gd name="T1" fmla="*/ 0 h 779"/>
              <a:gd name="T2" fmla="*/ 99 w 779"/>
              <a:gd name="T3" fmla="*/ 0 h 779"/>
              <a:gd name="T4" fmla="*/ 0 w 779"/>
              <a:gd name="T5" fmla="*/ 99 h 779"/>
              <a:gd name="T6" fmla="*/ 0 w 779"/>
              <a:gd name="T7" fmla="*/ 680 h 779"/>
              <a:gd name="T8" fmla="*/ 99 w 779"/>
              <a:gd name="T9" fmla="*/ 779 h 779"/>
              <a:gd name="T10" fmla="*/ 680 w 779"/>
              <a:gd name="T11" fmla="*/ 779 h 779"/>
              <a:gd name="T12" fmla="*/ 779 w 779"/>
              <a:gd name="T13" fmla="*/ 680 h 779"/>
              <a:gd name="T14" fmla="*/ 779 w 779"/>
              <a:gd name="T15" fmla="*/ 99 h 779"/>
              <a:gd name="T16" fmla="*/ 680 w 779"/>
              <a:gd name="T17" fmla="*/ 0 h 779"/>
              <a:gd name="T18" fmla="*/ 523 w 779"/>
              <a:gd name="T19" fmla="*/ 410 h 779"/>
              <a:gd name="T20" fmla="*/ 501 w 779"/>
              <a:gd name="T21" fmla="*/ 388 h 779"/>
              <a:gd name="T22" fmla="*/ 456 w 779"/>
              <a:gd name="T23" fmla="*/ 384 h 779"/>
              <a:gd name="T24" fmla="*/ 422 w 779"/>
              <a:gd name="T25" fmla="*/ 422 h 779"/>
              <a:gd name="T26" fmla="*/ 422 w 779"/>
              <a:gd name="T27" fmla="*/ 628 h 779"/>
              <a:gd name="T28" fmla="*/ 313 w 779"/>
              <a:gd name="T29" fmla="*/ 628 h 779"/>
              <a:gd name="T30" fmla="*/ 313 w 779"/>
              <a:gd name="T31" fmla="*/ 305 h 779"/>
              <a:gd name="T32" fmla="*/ 422 w 779"/>
              <a:gd name="T33" fmla="*/ 305 h 779"/>
              <a:gd name="T34" fmla="*/ 422 w 779"/>
              <a:gd name="T35" fmla="*/ 343 h 779"/>
              <a:gd name="T36" fmla="*/ 475 w 779"/>
              <a:gd name="T37" fmla="*/ 302 h 779"/>
              <a:gd name="T38" fmla="*/ 561 w 779"/>
              <a:gd name="T39" fmla="*/ 305 h 779"/>
              <a:gd name="T40" fmla="*/ 640 w 779"/>
              <a:gd name="T41" fmla="*/ 628 h 779"/>
              <a:gd name="T42" fmla="*/ 531 w 779"/>
              <a:gd name="T43" fmla="*/ 628 h 779"/>
              <a:gd name="T44" fmla="*/ 523 w 779"/>
              <a:gd name="T45" fmla="*/ 410 h 779"/>
              <a:gd name="T46" fmla="*/ 250 w 779"/>
              <a:gd name="T47" fmla="*/ 234 h 779"/>
              <a:gd name="T48" fmla="*/ 171 w 779"/>
              <a:gd name="T49" fmla="*/ 253 h 779"/>
              <a:gd name="T50" fmla="*/ 148 w 779"/>
              <a:gd name="T51" fmla="*/ 171 h 779"/>
              <a:gd name="T52" fmla="*/ 182 w 779"/>
              <a:gd name="T53" fmla="*/ 148 h 779"/>
              <a:gd name="T54" fmla="*/ 235 w 779"/>
              <a:gd name="T55" fmla="*/ 159 h 779"/>
              <a:gd name="T56" fmla="*/ 261 w 779"/>
              <a:gd name="T57" fmla="*/ 189 h 779"/>
              <a:gd name="T58" fmla="*/ 250 w 779"/>
              <a:gd name="T59" fmla="*/ 234 h 779"/>
              <a:gd name="T60" fmla="*/ 253 w 779"/>
              <a:gd name="T61" fmla="*/ 305 h 779"/>
              <a:gd name="T62" fmla="*/ 253 w 779"/>
              <a:gd name="T63" fmla="*/ 628 h 779"/>
              <a:gd name="T64" fmla="*/ 145 w 779"/>
              <a:gd name="T65" fmla="*/ 628 h 779"/>
              <a:gd name="T66" fmla="*/ 145 w 779"/>
              <a:gd name="T67" fmla="*/ 305 h 779"/>
              <a:gd name="T68" fmla="*/ 253 w 779"/>
              <a:gd name="T69" fmla="*/ 305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79" h="779">
                <a:moveTo>
                  <a:pt x="680" y="0"/>
                </a:moveTo>
                <a:cubicBezTo>
                  <a:pt x="99" y="0"/>
                  <a:pt x="99" y="0"/>
                  <a:pt x="99" y="0"/>
                </a:cubicBezTo>
                <a:cubicBezTo>
                  <a:pt x="44" y="0"/>
                  <a:pt x="0" y="44"/>
                  <a:pt x="0" y="99"/>
                </a:cubicBezTo>
                <a:cubicBezTo>
                  <a:pt x="0" y="680"/>
                  <a:pt x="0" y="680"/>
                  <a:pt x="0" y="680"/>
                </a:cubicBezTo>
                <a:cubicBezTo>
                  <a:pt x="0" y="735"/>
                  <a:pt x="44" y="779"/>
                  <a:pt x="99" y="779"/>
                </a:cubicBezTo>
                <a:cubicBezTo>
                  <a:pt x="680" y="779"/>
                  <a:pt x="680" y="779"/>
                  <a:pt x="680" y="779"/>
                </a:cubicBezTo>
                <a:cubicBezTo>
                  <a:pt x="735" y="779"/>
                  <a:pt x="779" y="735"/>
                  <a:pt x="779" y="680"/>
                </a:cubicBezTo>
                <a:cubicBezTo>
                  <a:pt x="779" y="99"/>
                  <a:pt x="779" y="99"/>
                  <a:pt x="779" y="99"/>
                </a:cubicBezTo>
                <a:cubicBezTo>
                  <a:pt x="779" y="44"/>
                  <a:pt x="735" y="0"/>
                  <a:pt x="680" y="0"/>
                </a:cubicBezTo>
                <a:close/>
                <a:moveTo>
                  <a:pt x="523" y="410"/>
                </a:moveTo>
                <a:cubicBezTo>
                  <a:pt x="520" y="397"/>
                  <a:pt x="514" y="392"/>
                  <a:pt x="501" y="388"/>
                </a:cubicBezTo>
                <a:cubicBezTo>
                  <a:pt x="488" y="378"/>
                  <a:pt x="474" y="382"/>
                  <a:pt x="456" y="384"/>
                </a:cubicBezTo>
                <a:cubicBezTo>
                  <a:pt x="445" y="395"/>
                  <a:pt x="428" y="405"/>
                  <a:pt x="422" y="422"/>
                </a:cubicBezTo>
                <a:cubicBezTo>
                  <a:pt x="422" y="490"/>
                  <a:pt x="422" y="559"/>
                  <a:pt x="422" y="628"/>
                </a:cubicBezTo>
                <a:cubicBezTo>
                  <a:pt x="386" y="628"/>
                  <a:pt x="350" y="628"/>
                  <a:pt x="313" y="628"/>
                </a:cubicBezTo>
                <a:cubicBezTo>
                  <a:pt x="313" y="520"/>
                  <a:pt x="313" y="413"/>
                  <a:pt x="313" y="305"/>
                </a:cubicBezTo>
                <a:cubicBezTo>
                  <a:pt x="350" y="305"/>
                  <a:pt x="386" y="305"/>
                  <a:pt x="422" y="305"/>
                </a:cubicBezTo>
                <a:cubicBezTo>
                  <a:pt x="422" y="318"/>
                  <a:pt x="422" y="331"/>
                  <a:pt x="422" y="343"/>
                </a:cubicBezTo>
                <a:cubicBezTo>
                  <a:pt x="441" y="330"/>
                  <a:pt x="450" y="310"/>
                  <a:pt x="475" y="302"/>
                </a:cubicBezTo>
                <a:cubicBezTo>
                  <a:pt x="499" y="292"/>
                  <a:pt x="542" y="298"/>
                  <a:pt x="561" y="305"/>
                </a:cubicBezTo>
                <a:cubicBezTo>
                  <a:pt x="661" y="343"/>
                  <a:pt x="643" y="491"/>
                  <a:pt x="640" y="628"/>
                </a:cubicBezTo>
                <a:cubicBezTo>
                  <a:pt x="603" y="628"/>
                  <a:pt x="568" y="628"/>
                  <a:pt x="531" y="628"/>
                </a:cubicBezTo>
                <a:cubicBezTo>
                  <a:pt x="531" y="581"/>
                  <a:pt x="542" y="437"/>
                  <a:pt x="523" y="410"/>
                </a:cubicBezTo>
                <a:close/>
                <a:moveTo>
                  <a:pt x="250" y="234"/>
                </a:moveTo>
                <a:cubicBezTo>
                  <a:pt x="242" y="255"/>
                  <a:pt x="194" y="273"/>
                  <a:pt x="171" y="253"/>
                </a:cubicBezTo>
                <a:cubicBezTo>
                  <a:pt x="145" y="245"/>
                  <a:pt x="129" y="201"/>
                  <a:pt x="148" y="171"/>
                </a:cubicBezTo>
                <a:cubicBezTo>
                  <a:pt x="156" y="159"/>
                  <a:pt x="172" y="156"/>
                  <a:pt x="182" y="148"/>
                </a:cubicBezTo>
                <a:cubicBezTo>
                  <a:pt x="206" y="147"/>
                  <a:pt x="223" y="148"/>
                  <a:pt x="235" y="159"/>
                </a:cubicBezTo>
                <a:cubicBezTo>
                  <a:pt x="252" y="166"/>
                  <a:pt x="251" y="178"/>
                  <a:pt x="261" y="189"/>
                </a:cubicBezTo>
                <a:cubicBezTo>
                  <a:pt x="261" y="211"/>
                  <a:pt x="260" y="224"/>
                  <a:pt x="250" y="234"/>
                </a:cubicBezTo>
                <a:close/>
                <a:moveTo>
                  <a:pt x="253" y="305"/>
                </a:moveTo>
                <a:cubicBezTo>
                  <a:pt x="253" y="413"/>
                  <a:pt x="253" y="520"/>
                  <a:pt x="253" y="628"/>
                </a:cubicBezTo>
                <a:cubicBezTo>
                  <a:pt x="217" y="628"/>
                  <a:pt x="181" y="628"/>
                  <a:pt x="145" y="628"/>
                </a:cubicBezTo>
                <a:cubicBezTo>
                  <a:pt x="145" y="520"/>
                  <a:pt x="145" y="413"/>
                  <a:pt x="145" y="305"/>
                </a:cubicBezTo>
                <a:cubicBezTo>
                  <a:pt x="181" y="305"/>
                  <a:pt x="217" y="305"/>
                  <a:pt x="253" y="305"/>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75" name="Freeform 139"/>
          <p:cNvSpPr>
            <a:spLocks noEditPoints="1"/>
          </p:cNvSpPr>
          <p:nvPr userDrawn="1"/>
        </p:nvSpPr>
        <p:spPr bwMode="auto">
          <a:xfrm>
            <a:off x="3116569" y="4062387"/>
            <a:ext cx="441012" cy="531034"/>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176" name="Freeform 143"/>
          <p:cNvSpPr>
            <a:spLocks noEditPoints="1"/>
          </p:cNvSpPr>
          <p:nvPr userDrawn="1"/>
        </p:nvSpPr>
        <p:spPr bwMode="auto">
          <a:xfrm rot="2700000">
            <a:off x="10305931" y="4541552"/>
            <a:ext cx="433694" cy="433756"/>
          </a:xfrm>
          <a:custGeom>
            <a:avLst/>
            <a:gdLst>
              <a:gd name="T0" fmla="*/ 742 w 1484"/>
              <a:gd name="T1" fmla="*/ 0 h 1484"/>
              <a:gd name="T2" fmla="*/ 0 w 1484"/>
              <a:gd name="T3" fmla="*/ 742 h 1484"/>
              <a:gd name="T4" fmla="*/ 742 w 1484"/>
              <a:gd name="T5" fmla="*/ 1484 h 1484"/>
              <a:gd name="T6" fmla="*/ 1484 w 1484"/>
              <a:gd name="T7" fmla="*/ 742 h 1484"/>
              <a:gd name="T8" fmla="*/ 742 w 1484"/>
              <a:gd name="T9" fmla="*/ 0 h 1484"/>
              <a:gd name="T10" fmla="*/ 743 w 1484"/>
              <a:gd name="T11" fmla="*/ 942 h 1484"/>
              <a:gd name="T12" fmla="*/ 266 w 1484"/>
              <a:gd name="T13" fmla="*/ 1131 h 1484"/>
              <a:gd name="T14" fmla="*/ 742 w 1484"/>
              <a:gd name="T15" fmla="*/ 183 h 1484"/>
              <a:gd name="T16" fmla="*/ 742 w 1484"/>
              <a:gd name="T17" fmla="*/ 183 h 1484"/>
              <a:gd name="T18" fmla="*/ 742 w 1484"/>
              <a:gd name="T19" fmla="*/ 183 h 1484"/>
              <a:gd name="T20" fmla="*/ 1218 w 1484"/>
              <a:gd name="T21" fmla="*/ 1131 h 1484"/>
              <a:gd name="T22" fmla="*/ 743 w 1484"/>
              <a:gd name="T23" fmla="*/ 942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4" h="1484">
                <a:moveTo>
                  <a:pt x="742" y="0"/>
                </a:moveTo>
                <a:cubicBezTo>
                  <a:pt x="332" y="0"/>
                  <a:pt x="0" y="332"/>
                  <a:pt x="0" y="742"/>
                </a:cubicBezTo>
                <a:cubicBezTo>
                  <a:pt x="0" y="1151"/>
                  <a:pt x="332" y="1484"/>
                  <a:pt x="742" y="1484"/>
                </a:cubicBezTo>
                <a:cubicBezTo>
                  <a:pt x="1152" y="1484"/>
                  <a:pt x="1484" y="1151"/>
                  <a:pt x="1484" y="742"/>
                </a:cubicBezTo>
                <a:cubicBezTo>
                  <a:pt x="1484" y="332"/>
                  <a:pt x="1152" y="0"/>
                  <a:pt x="742" y="0"/>
                </a:cubicBezTo>
                <a:close/>
                <a:moveTo>
                  <a:pt x="743" y="942"/>
                </a:moveTo>
                <a:cubicBezTo>
                  <a:pt x="266" y="1131"/>
                  <a:pt x="266" y="1131"/>
                  <a:pt x="266" y="1131"/>
                </a:cubicBezTo>
                <a:cubicBezTo>
                  <a:pt x="742" y="183"/>
                  <a:pt x="742" y="183"/>
                  <a:pt x="742" y="183"/>
                </a:cubicBezTo>
                <a:cubicBezTo>
                  <a:pt x="742" y="183"/>
                  <a:pt x="742" y="183"/>
                  <a:pt x="742" y="183"/>
                </a:cubicBezTo>
                <a:cubicBezTo>
                  <a:pt x="742" y="183"/>
                  <a:pt x="742" y="183"/>
                  <a:pt x="742" y="183"/>
                </a:cubicBezTo>
                <a:cubicBezTo>
                  <a:pt x="1218" y="1131"/>
                  <a:pt x="1218" y="1131"/>
                  <a:pt x="1218" y="1131"/>
                </a:cubicBezTo>
                <a:lnTo>
                  <a:pt x="743" y="942"/>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77" name="Group 176"/>
          <p:cNvGrpSpPr/>
          <p:nvPr userDrawn="1"/>
        </p:nvGrpSpPr>
        <p:grpSpPr>
          <a:xfrm>
            <a:off x="9516417" y="85502"/>
            <a:ext cx="575242" cy="343898"/>
            <a:chOff x="2453634" y="7289176"/>
            <a:chExt cx="3764603" cy="2250921"/>
          </a:xfrm>
          <a:solidFill>
            <a:schemeClr val="bg1">
              <a:lumMod val="85000"/>
            </a:schemeClr>
          </a:solidFill>
        </p:grpSpPr>
        <p:sp>
          <p:nvSpPr>
            <p:cNvPr id="178" name="Freeform 177"/>
            <p:cNvSpPr/>
            <p:nvPr/>
          </p:nvSpPr>
          <p:spPr bwMode="auto">
            <a:xfrm>
              <a:off x="2453634" y="7289176"/>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Freeform 178"/>
            <p:cNvSpPr/>
            <p:nvPr/>
          </p:nvSpPr>
          <p:spPr bwMode="auto">
            <a:xfrm>
              <a:off x="2453634" y="8088448"/>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0" name="Freeform 179"/>
            <p:cNvSpPr/>
            <p:nvPr/>
          </p:nvSpPr>
          <p:spPr bwMode="auto">
            <a:xfrm>
              <a:off x="2453634" y="8887719"/>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81" name="Group 180"/>
          <p:cNvGrpSpPr/>
          <p:nvPr userDrawn="1"/>
        </p:nvGrpSpPr>
        <p:grpSpPr>
          <a:xfrm>
            <a:off x="965669" y="1086708"/>
            <a:ext cx="334386" cy="465168"/>
            <a:chOff x="9817768" y="3561350"/>
            <a:chExt cx="1937085" cy="2695071"/>
          </a:xfrm>
          <a:solidFill>
            <a:schemeClr val="bg1">
              <a:lumMod val="85000"/>
            </a:schemeClr>
          </a:solidFill>
        </p:grpSpPr>
        <p:sp>
          <p:nvSpPr>
            <p:cNvPr id="182" name="Freeform 181"/>
            <p:cNvSpPr/>
            <p:nvPr/>
          </p:nvSpPr>
          <p:spPr bwMode="auto">
            <a:xfrm>
              <a:off x="9817768" y="3561350"/>
              <a:ext cx="1937085" cy="2695071"/>
            </a:xfrm>
            <a:custGeom>
              <a:avLst/>
              <a:gdLst>
                <a:gd name="connsiteX0" fmla="*/ 204537 w 1937085"/>
                <a:gd name="connsiteY0" fmla="*/ 204535 h 2695071"/>
                <a:gd name="connsiteX1" fmla="*/ 204537 w 1937085"/>
                <a:gd name="connsiteY1" fmla="*/ 2490535 h 2695071"/>
                <a:gd name="connsiteX2" fmla="*/ 1730625 w 1937085"/>
                <a:gd name="connsiteY2" fmla="*/ 2490535 h 2695071"/>
                <a:gd name="connsiteX3" fmla="*/ 1730625 w 1937085"/>
                <a:gd name="connsiteY3" fmla="*/ 204535 h 2695071"/>
                <a:gd name="connsiteX4" fmla="*/ 322854 w 1937085"/>
                <a:gd name="connsiteY4" fmla="*/ 0 h 2695071"/>
                <a:gd name="connsiteX5" fmla="*/ 1614231 w 1937085"/>
                <a:gd name="connsiteY5" fmla="*/ 0 h 2695071"/>
                <a:gd name="connsiteX6" fmla="*/ 1937085 w 1937085"/>
                <a:gd name="connsiteY6" fmla="*/ 322854 h 2695071"/>
                <a:gd name="connsiteX7" fmla="*/ 1937085 w 1937085"/>
                <a:gd name="connsiteY7" fmla="*/ 2372217 h 2695071"/>
                <a:gd name="connsiteX8" fmla="*/ 1614231 w 1937085"/>
                <a:gd name="connsiteY8" fmla="*/ 2695071 h 2695071"/>
                <a:gd name="connsiteX9" fmla="*/ 322854 w 1937085"/>
                <a:gd name="connsiteY9" fmla="*/ 2695071 h 2695071"/>
                <a:gd name="connsiteX10" fmla="*/ 0 w 1937085"/>
                <a:gd name="connsiteY10" fmla="*/ 2372217 h 2695071"/>
                <a:gd name="connsiteX11" fmla="*/ 0 w 1937085"/>
                <a:gd name="connsiteY11" fmla="*/ 322854 h 2695071"/>
                <a:gd name="connsiteX12" fmla="*/ 322854 w 1937085"/>
                <a:gd name="connsiteY12" fmla="*/ 0 h 26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7085" h="2695071">
                  <a:moveTo>
                    <a:pt x="204537" y="204535"/>
                  </a:moveTo>
                  <a:lnTo>
                    <a:pt x="204537" y="2490535"/>
                  </a:lnTo>
                  <a:lnTo>
                    <a:pt x="1730625" y="2490535"/>
                  </a:lnTo>
                  <a:lnTo>
                    <a:pt x="1730625" y="204535"/>
                  </a:lnTo>
                  <a:close/>
                  <a:moveTo>
                    <a:pt x="322854" y="0"/>
                  </a:moveTo>
                  <a:lnTo>
                    <a:pt x="1614231" y="0"/>
                  </a:lnTo>
                  <a:cubicBezTo>
                    <a:pt x="1792538" y="0"/>
                    <a:pt x="1937085" y="144547"/>
                    <a:pt x="1937085" y="322854"/>
                  </a:cubicBezTo>
                  <a:lnTo>
                    <a:pt x="1937085" y="2372217"/>
                  </a:lnTo>
                  <a:cubicBezTo>
                    <a:pt x="1937085" y="2550524"/>
                    <a:pt x="1792538" y="2695071"/>
                    <a:pt x="1614231" y="2695071"/>
                  </a:cubicBezTo>
                  <a:lnTo>
                    <a:pt x="322854" y="2695071"/>
                  </a:lnTo>
                  <a:cubicBezTo>
                    <a:pt x="144547" y="2695071"/>
                    <a:pt x="0" y="2550524"/>
                    <a:pt x="0" y="2372217"/>
                  </a:cubicBezTo>
                  <a:lnTo>
                    <a:pt x="0" y="322854"/>
                  </a:lnTo>
                  <a:cubicBezTo>
                    <a:pt x="0" y="144547"/>
                    <a:pt x="144547" y="0"/>
                    <a:pt x="3228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Rectangle 182"/>
            <p:cNvSpPr/>
            <p:nvPr/>
          </p:nvSpPr>
          <p:spPr bwMode="auto">
            <a:xfrm>
              <a:off x="10184731" y="4018548"/>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4" name="Rectangle 183"/>
            <p:cNvSpPr/>
            <p:nvPr/>
          </p:nvSpPr>
          <p:spPr bwMode="auto">
            <a:xfrm>
              <a:off x="10184731" y="4421606"/>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5" name="Rectangle 184"/>
            <p:cNvSpPr/>
            <p:nvPr/>
          </p:nvSpPr>
          <p:spPr bwMode="auto">
            <a:xfrm>
              <a:off x="10184731" y="4824664"/>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6" name="Rectangle 185"/>
            <p:cNvSpPr/>
            <p:nvPr/>
          </p:nvSpPr>
          <p:spPr bwMode="auto">
            <a:xfrm>
              <a:off x="10184731" y="5227722"/>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p:nvSpPr>
          <p:spPr bwMode="auto">
            <a:xfrm>
              <a:off x="10184731" y="5630780"/>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88" name="Freeform 16"/>
          <p:cNvSpPr>
            <a:spLocks noChangeAspect="1" noEditPoints="1"/>
          </p:cNvSpPr>
          <p:nvPr userDrawn="1"/>
        </p:nvSpPr>
        <p:spPr bwMode="auto">
          <a:xfrm>
            <a:off x="11603828" y="6937468"/>
            <a:ext cx="948379" cy="660302"/>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189" name="Group 188"/>
          <p:cNvGrpSpPr/>
          <p:nvPr userDrawn="1"/>
        </p:nvGrpSpPr>
        <p:grpSpPr>
          <a:xfrm>
            <a:off x="11736259" y="5617539"/>
            <a:ext cx="311308" cy="316699"/>
            <a:chOff x="8528940" y="2613975"/>
            <a:chExt cx="2162543" cy="2200306"/>
          </a:xfrm>
          <a:solidFill>
            <a:schemeClr val="bg1">
              <a:lumMod val="85000"/>
            </a:schemeClr>
          </a:solidFill>
        </p:grpSpPr>
        <p:sp>
          <p:nvSpPr>
            <p:cNvPr id="190" name="Freeform 189"/>
            <p:cNvSpPr/>
            <p:nvPr/>
          </p:nvSpPr>
          <p:spPr bwMode="auto">
            <a:xfrm>
              <a:off x="9058182" y="3137768"/>
              <a:ext cx="1136696" cy="1136696"/>
            </a:xfrm>
            <a:custGeom>
              <a:avLst/>
              <a:gdLst>
                <a:gd name="connsiteX0" fmla="*/ 579406 w 1136696"/>
                <a:gd name="connsiteY0" fmla="*/ 229423 h 1136696"/>
                <a:gd name="connsiteX1" fmla="*/ 240481 w 1136696"/>
                <a:gd name="connsiteY1" fmla="*/ 568348 h 1136696"/>
                <a:gd name="connsiteX2" fmla="*/ 579406 w 1136696"/>
                <a:gd name="connsiteY2" fmla="*/ 907273 h 1136696"/>
                <a:gd name="connsiteX3" fmla="*/ 918331 w 1136696"/>
                <a:gd name="connsiteY3" fmla="*/ 568348 h 1136696"/>
                <a:gd name="connsiteX4" fmla="*/ 579406 w 1136696"/>
                <a:gd name="connsiteY4" fmla="*/ 229423 h 1136696"/>
                <a:gd name="connsiteX5" fmla="*/ 568348 w 1136696"/>
                <a:gd name="connsiteY5" fmla="*/ 0 h 1136696"/>
                <a:gd name="connsiteX6" fmla="*/ 1136696 w 1136696"/>
                <a:gd name="connsiteY6" fmla="*/ 568348 h 1136696"/>
                <a:gd name="connsiteX7" fmla="*/ 568348 w 1136696"/>
                <a:gd name="connsiteY7" fmla="*/ 1136696 h 1136696"/>
                <a:gd name="connsiteX8" fmla="*/ 0 w 1136696"/>
                <a:gd name="connsiteY8" fmla="*/ 568348 h 1136696"/>
                <a:gd name="connsiteX9" fmla="*/ 568348 w 1136696"/>
                <a:gd name="connsiteY9" fmla="*/ 0 h 113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6696" h="1136696">
                  <a:moveTo>
                    <a:pt x="579406" y="229423"/>
                  </a:moveTo>
                  <a:cubicBezTo>
                    <a:pt x="392223" y="229423"/>
                    <a:pt x="240481" y="381165"/>
                    <a:pt x="240481" y="568348"/>
                  </a:cubicBezTo>
                  <a:cubicBezTo>
                    <a:pt x="240481" y="755531"/>
                    <a:pt x="392223" y="907273"/>
                    <a:pt x="579406" y="907273"/>
                  </a:cubicBezTo>
                  <a:cubicBezTo>
                    <a:pt x="766589" y="907273"/>
                    <a:pt x="918331" y="755531"/>
                    <a:pt x="918331" y="568348"/>
                  </a:cubicBezTo>
                  <a:cubicBezTo>
                    <a:pt x="918331" y="381165"/>
                    <a:pt x="766589" y="229423"/>
                    <a:pt x="579406" y="229423"/>
                  </a:cubicBezTo>
                  <a:close/>
                  <a:moveTo>
                    <a:pt x="568348" y="0"/>
                  </a:moveTo>
                  <a:cubicBezTo>
                    <a:pt x="882238" y="0"/>
                    <a:pt x="1136696" y="254458"/>
                    <a:pt x="1136696" y="568348"/>
                  </a:cubicBezTo>
                  <a:cubicBezTo>
                    <a:pt x="1136696" y="882238"/>
                    <a:pt x="882238" y="1136696"/>
                    <a:pt x="568348" y="1136696"/>
                  </a:cubicBezTo>
                  <a:cubicBezTo>
                    <a:pt x="254458" y="1136696"/>
                    <a:pt x="0" y="882238"/>
                    <a:pt x="0" y="568348"/>
                  </a:cubicBezTo>
                  <a:cubicBezTo>
                    <a:pt x="0" y="254458"/>
                    <a:pt x="254458" y="0"/>
                    <a:pt x="56834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Oval 190"/>
            <p:cNvSpPr/>
            <p:nvPr/>
          </p:nvSpPr>
          <p:spPr bwMode="auto">
            <a:xfrm>
              <a:off x="9443650" y="2613975"/>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Oval 191"/>
            <p:cNvSpPr/>
            <p:nvPr/>
          </p:nvSpPr>
          <p:spPr bwMode="auto">
            <a:xfrm>
              <a:off x="10325723" y="3523236"/>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Oval 192"/>
            <p:cNvSpPr/>
            <p:nvPr/>
          </p:nvSpPr>
          <p:spPr bwMode="auto">
            <a:xfrm>
              <a:off x="9443650" y="4448521"/>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Oval 193"/>
            <p:cNvSpPr/>
            <p:nvPr/>
          </p:nvSpPr>
          <p:spPr bwMode="auto">
            <a:xfrm>
              <a:off x="8528940" y="3523236"/>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95" name="Oval 194"/>
            <p:cNvSpPr/>
            <p:nvPr/>
          </p:nvSpPr>
          <p:spPr bwMode="auto">
            <a:xfrm rot="2700000">
              <a:off x="10087480" y="2894177"/>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96" name="Oval 195"/>
            <p:cNvSpPr/>
            <p:nvPr/>
          </p:nvSpPr>
          <p:spPr bwMode="auto">
            <a:xfrm rot="2700000">
              <a:off x="10068256" y="4160841"/>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97" name="Oval 196"/>
            <p:cNvSpPr/>
            <p:nvPr/>
          </p:nvSpPr>
          <p:spPr bwMode="auto">
            <a:xfrm rot="2700000">
              <a:off x="8790260" y="4191397"/>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98" name="Oval 197"/>
            <p:cNvSpPr/>
            <p:nvPr/>
          </p:nvSpPr>
          <p:spPr bwMode="auto">
            <a:xfrm rot="2700000">
              <a:off x="8797738" y="2890324"/>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9" name="Freeform 198"/>
          <p:cNvSpPr>
            <a:spLocks/>
          </p:cNvSpPr>
          <p:nvPr userDrawn="1"/>
        </p:nvSpPr>
        <p:spPr bwMode="auto">
          <a:xfrm>
            <a:off x="261364" y="-651227"/>
            <a:ext cx="1073065" cy="1071050"/>
          </a:xfrm>
          <a:custGeom>
            <a:avLst/>
            <a:gdLst>
              <a:gd name="connsiteX0" fmla="*/ 383487 w 1353313"/>
              <a:gd name="connsiteY0" fmla="*/ 905287 h 1350963"/>
              <a:gd name="connsiteX1" fmla="*/ 412132 w 1353313"/>
              <a:gd name="connsiteY1" fmla="*/ 940005 h 1350963"/>
              <a:gd name="connsiteX2" fmla="*/ 676656 w 1353313"/>
              <a:gd name="connsiteY2" fmla="*/ 1049575 h 1350963"/>
              <a:gd name="connsiteX3" fmla="*/ 752049 w 1353313"/>
              <a:gd name="connsiteY3" fmla="*/ 1041975 h 1350963"/>
              <a:gd name="connsiteX4" fmla="*/ 781286 w 1353313"/>
              <a:gd name="connsiteY4" fmla="*/ 1032899 h 1350963"/>
              <a:gd name="connsiteX5" fmla="*/ 793594 w 1353313"/>
              <a:gd name="connsiteY5" fmla="*/ 1067314 h 1350963"/>
              <a:gd name="connsiteX6" fmla="*/ 880520 w 1353313"/>
              <a:gd name="connsiteY6" fmla="*/ 1316925 h 1350963"/>
              <a:gd name="connsiteX7" fmla="*/ 672654 w 1353313"/>
              <a:gd name="connsiteY7" fmla="*/ 1350963 h 1350963"/>
              <a:gd name="connsiteX8" fmla="*/ 135982 w 1353313"/>
              <a:gd name="connsiteY8" fmla="*/ 1078660 h 1350963"/>
              <a:gd name="connsiteX9" fmla="*/ 1018574 w 1353313"/>
              <a:gd name="connsiteY9" fmla="*/ 826213 h 1350963"/>
              <a:gd name="connsiteX10" fmla="*/ 1027414 w 1353313"/>
              <a:gd name="connsiteY10" fmla="*/ 829606 h 1350963"/>
              <a:gd name="connsiteX11" fmla="*/ 1301207 w 1353313"/>
              <a:gd name="connsiteY11" fmla="*/ 934696 h 1350963"/>
              <a:gd name="connsiteX12" fmla="*/ 918864 w 1353313"/>
              <a:gd name="connsiteY12" fmla="*/ 1304925 h 1350963"/>
              <a:gd name="connsiteX13" fmla="*/ 819807 w 1353313"/>
              <a:gd name="connsiteY13" fmla="*/ 1020942 h 1350963"/>
              <a:gd name="connsiteX14" fmla="*/ 822270 w 1353313"/>
              <a:gd name="connsiteY14" fmla="*/ 1020177 h 1350963"/>
              <a:gd name="connsiteX15" fmla="*/ 986861 w 1353313"/>
              <a:gd name="connsiteY15" fmla="*/ 884640 h 1350963"/>
              <a:gd name="connsiteX16" fmla="*/ 1330677 w 1353313"/>
              <a:gd name="connsiteY16" fmla="*/ 503238 h 1350963"/>
              <a:gd name="connsiteX17" fmla="*/ 1315552 w 1353313"/>
              <a:gd name="connsiteY17" fmla="*/ 896938 h 1350963"/>
              <a:gd name="connsiteX18" fmla="*/ 1073087 w 1353313"/>
              <a:gd name="connsiteY18" fmla="*/ 804310 h 1350963"/>
              <a:gd name="connsiteX19" fmla="*/ 1031495 w 1353313"/>
              <a:gd name="connsiteY19" fmla="*/ 788421 h 1350963"/>
              <a:gd name="connsiteX20" fmla="*/ 1043150 w 1353313"/>
              <a:gd name="connsiteY20" fmla="*/ 750874 h 1350963"/>
              <a:gd name="connsiteX21" fmla="*/ 1050750 w 1353313"/>
              <a:gd name="connsiteY21" fmla="*/ 675481 h 1350963"/>
              <a:gd name="connsiteX22" fmla="*/ 1043150 w 1353313"/>
              <a:gd name="connsiteY22" fmla="*/ 600088 h 1350963"/>
              <a:gd name="connsiteX23" fmla="*/ 1039747 w 1353313"/>
              <a:gd name="connsiteY23" fmla="*/ 589126 h 1350963"/>
              <a:gd name="connsiteX24" fmla="*/ 1057205 w 1353313"/>
              <a:gd name="connsiteY24" fmla="*/ 583972 h 1350963"/>
              <a:gd name="connsiteX25" fmla="*/ 1330677 w 1353313"/>
              <a:gd name="connsiteY25" fmla="*/ 503238 h 1350963"/>
              <a:gd name="connsiteX26" fmla="*/ 672618 w 1353313"/>
              <a:gd name="connsiteY26" fmla="*/ 0 h 1350963"/>
              <a:gd name="connsiteX27" fmla="*/ 793517 w 1353313"/>
              <a:gd name="connsiteY27" fmla="*/ 7569 h 1350963"/>
              <a:gd name="connsiteX28" fmla="*/ 1227995 w 1353313"/>
              <a:gd name="connsiteY28" fmla="*/ 287637 h 1350963"/>
              <a:gd name="connsiteX29" fmla="*/ 1318669 w 1353313"/>
              <a:gd name="connsiteY29" fmla="*/ 465517 h 1350963"/>
              <a:gd name="connsiteX30" fmla="*/ 1050898 w 1353313"/>
              <a:gd name="connsiteY30" fmla="*/ 543754 h 1350963"/>
              <a:gd name="connsiteX31" fmla="*/ 1027761 w 1353313"/>
              <a:gd name="connsiteY31" fmla="*/ 550514 h 1350963"/>
              <a:gd name="connsiteX32" fmla="*/ 1021352 w 1353313"/>
              <a:gd name="connsiteY32" fmla="*/ 529867 h 1350963"/>
              <a:gd name="connsiteX33" fmla="*/ 676656 w 1353313"/>
              <a:gd name="connsiteY33" fmla="*/ 301387 h 1350963"/>
              <a:gd name="connsiteX34" fmla="*/ 302562 w 1353313"/>
              <a:gd name="connsiteY34" fmla="*/ 675481 h 1350963"/>
              <a:gd name="connsiteX35" fmla="*/ 331960 w 1353313"/>
              <a:gd name="connsiteY35" fmla="*/ 821095 h 1350963"/>
              <a:gd name="connsiteX36" fmla="*/ 359245 w 1353313"/>
              <a:gd name="connsiteY36" fmla="*/ 871363 h 1350963"/>
              <a:gd name="connsiteX37" fmla="*/ 354910 w 1353313"/>
              <a:gd name="connsiteY37" fmla="*/ 874372 h 1350963"/>
              <a:gd name="connsiteX38" fmla="*/ 109686 w 1353313"/>
              <a:gd name="connsiteY38" fmla="*/ 1044575 h 1350963"/>
              <a:gd name="connsiteX39" fmla="*/ 45458 w 1353313"/>
              <a:gd name="connsiteY39" fmla="*/ 435240 h 1350963"/>
              <a:gd name="connsiteX40" fmla="*/ 287255 w 1353313"/>
              <a:gd name="connsiteY40" fmla="*/ 121110 h 1350963"/>
              <a:gd name="connsiteX41" fmla="*/ 672618 w 1353313"/>
              <a:gd name="connsiteY41" fmla="*/ 0 h 135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3313" h="1350963">
                <a:moveTo>
                  <a:pt x="383487" y="905287"/>
                </a:moveTo>
                <a:lnTo>
                  <a:pt x="412132" y="940005"/>
                </a:lnTo>
                <a:cubicBezTo>
                  <a:pt x="479830" y="1007703"/>
                  <a:pt x="573353" y="1049575"/>
                  <a:pt x="676656" y="1049575"/>
                </a:cubicBezTo>
                <a:cubicBezTo>
                  <a:pt x="702482" y="1049575"/>
                  <a:pt x="727696" y="1046958"/>
                  <a:pt x="752049" y="1041975"/>
                </a:cubicBezTo>
                <a:lnTo>
                  <a:pt x="781286" y="1032899"/>
                </a:lnTo>
                <a:lnTo>
                  <a:pt x="793594" y="1067314"/>
                </a:lnTo>
                <a:cubicBezTo>
                  <a:pt x="793594" y="1067314"/>
                  <a:pt x="793594" y="1067314"/>
                  <a:pt x="880520" y="1316925"/>
                </a:cubicBezTo>
                <a:cubicBezTo>
                  <a:pt x="812491" y="1339617"/>
                  <a:pt x="740683" y="1350963"/>
                  <a:pt x="672654" y="1350963"/>
                </a:cubicBezTo>
                <a:cubicBezTo>
                  <a:pt x="457229" y="1350963"/>
                  <a:pt x="264481" y="1252631"/>
                  <a:pt x="135982" y="1078660"/>
                </a:cubicBezTo>
                <a:close/>
                <a:moveTo>
                  <a:pt x="1018574" y="826213"/>
                </a:moveTo>
                <a:lnTo>
                  <a:pt x="1027414" y="829606"/>
                </a:lnTo>
                <a:cubicBezTo>
                  <a:pt x="1100512" y="857663"/>
                  <a:pt x="1190479" y="892195"/>
                  <a:pt x="1301207" y="934696"/>
                </a:cubicBezTo>
                <a:cubicBezTo>
                  <a:pt x="1229281" y="1108477"/>
                  <a:pt x="1096786" y="1236924"/>
                  <a:pt x="918864" y="1304925"/>
                </a:cubicBezTo>
                <a:lnTo>
                  <a:pt x="819807" y="1020942"/>
                </a:lnTo>
                <a:lnTo>
                  <a:pt x="822270" y="1020177"/>
                </a:lnTo>
                <a:cubicBezTo>
                  <a:pt x="889404" y="991781"/>
                  <a:pt x="946524" y="944346"/>
                  <a:pt x="986861" y="884640"/>
                </a:cubicBezTo>
                <a:close/>
                <a:moveTo>
                  <a:pt x="1330677" y="503238"/>
                </a:moveTo>
                <a:cubicBezTo>
                  <a:pt x="1364707" y="635733"/>
                  <a:pt x="1360926" y="764443"/>
                  <a:pt x="1315552" y="896938"/>
                </a:cubicBezTo>
                <a:cubicBezTo>
                  <a:pt x="1315552" y="896938"/>
                  <a:pt x="1315552" y="896938"/>
                  <a:pt x="1073087" y="804310"/>
                </a:cubicBezTo>
                <a:lnTo>
                  <a:pt x="1031495" y="788421"/>
                </a:lnTo>
                <a:lnTo>
                  <a:pt x="1043150" y="750874"/>
                </a:lnTo>
                <a:cubicBezTo>
                  <a:pt x="1048133" y="726521"/>
                  <a:pt x="1050750" y="701307"/>
                  <a:pt x="1050750" y="675481"/>
                </a:cubicBezTo>
                <a:cubicBezTo>
                  <a:pt x="1050750" y="649655"/>
                  <a:pt x="1048133" y="624441"/>
                  <a:pt x="1043150" y="600088"/>
                </a:cubicBezTo>
                <a:lnTo>
                  <a:pt x="1039747" y="589126"/>
                </a:lnTo>
                <a:lnTo>
                  <a:pt x="1057205" y="583972"/>
                </a:lnTo>
                <a:cubicBezTo>
                  <a:pt x="1130218" y="562417"/>
                  <a:pt x="1220079" y="535889"/>
                  <a:pt x="1330677" y="503238"/>
                </a:cubicBezTo>
                <a:close/>
                <a:moveTo>
                  <a:pt x="672618" y="0"/>
                </a:moveTo>
                <a:cubicBezTo>
                  <a:pt x="714177" y="0"/>
                  <a:pt x="751958" y="3785"/>
                  <a:pt x="793517" y="7569"/>
                </a:cubicBezTo>
                <a:cubicBezTo>
                  <a:pt x="971086" y="41632"/>
                  <a:pt x="1125987" y="140034"/>
                  <a:pt x="1227995" y="287637"/>
                </a:cubicBezTo>
                <a:cubicBezTo>
                  <a:pt x="1269554" y="344407"/>
                  <a:pt x="1296001" y="401177"/>
                  <a:pt x="1318669" y="465517"/>
                </a:cubicBezTo>
                <a:cubicBezTo>
                  <a:pt x="1318669" y="465517"/>
                  <a:pt x="1318669" y="465517"/>
                  <a:pt x="1050898" y="543754"/>
                </a:cubicBezTo>
                <a:lnTo>
                  <a:pt x="1027761" y="550514"/>
                </a:lnTo>
                <a:lnTo>
                  <a:pt x="1021352" y="529867"/>
                </a:lnTo>
                <a:cubicBezTo>
                  <a:pt x="964561" y="395599"/>
                  <a:pt x="831611" y="301387"/>
                  <a:pt x="676656" y="301387"/>
                </a:cubicBezTo>
                <a:cubicBezTo>
                  <a:pt x="470050" y="301387"/>
                  <a:pt x="302562" y="468875"/>
                  <a:pt x="302562" y="675481"/>
                </a:cubicBezTo>
                <a:cubicBezTo>
                  <a:pt x="302562" y="727133"/>
                  <a:pt x="313030" y="776339"/>
                  <a:pt x="331960" y="821095"/>
                </a:cubicBezTo>
                <a:lnTo>
                  <a:pt x="359245" y="871363"/>
                </a:lnTo>
                <a:lnTo>
                  <a:pt x="354910" y="874372"/>
                </a:lnTo>
                <a:cubicBezTo>
                  <a:pt x="289440" y="919813"/>
                  <a:pt x="208860" y="975741"/>
                  <a:pt x="109686" y="1044575"/>
                </a:cubicBezTo>
                <a:cubicBezTo>
                  <a:pt x="-7435" y="862910"/>
                  <a:pt x="-33881" y="635828"/>
                  <a:pt x="45458" y="435240"/>
                </a:cubicBezTo>
                <a:cubicBezTo>
                  <a:pt x="94573" y="306560"/>
                  <a:pt x="177691" y="200589"/>
                  <a:pt x="287255" y="121110"/>
                </a:cubicBezTo>
                <a:cubicBezTo>
                  <a:pt x="404375" y="41632"/>
                  <a:pt x="536608" y="0"/>
                  <a:pt x="672618" y="0"/>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noAutofit/>
          </a:bodyPr>
          <a:lstStyle/>
          <a:p>
            <a:endParaRPr lang="en-US" sz="1836">
              <a:solidFill>
                <a:srgbClr val="000000"/>
              </a:solidFill>
            </a:endParaRPr>
          </a:p>
        </p:txBody>
      </p:sp>
      <p:sp>
        <p:nvSpPr>
          <p:cNvPr id="200" name="Freeform 199"/>
          <p:cNvSpPr>
            <a:spLocks/>
          </p:cNvSpPr>
          <p:nvPr userDrawn="1"/>
        </p:nvSpPr>
        <p:spPr bwMode="auto">
          <a:xfrm rot="8819417">
            <a:off x="7103944" y="6602719"/>
            <a:ext cx="748568" cy="747163"/>
          </a:xfrm>
          <a:custGeom>
            <a:avLst/>
            <a:gdLst>
              <a:gd name="connsiteX0" fmla="*/ 383487 w 1353313"/>
              <a:gd name="connsiteY0" fmla="*/ 905287 h 1350963"/>
              <a:gd name="connsiteX1" fmla="*/ 412132 w 1353313"/>
              <a:gd name="connsiteY1" fmla="*/ 940005 h 1350963"/>
              <a:gd name="connsiteX2" fmla="*/ 676656 w 1353313"/>
              <a:gd name="connsiteY2" fmla="*/ 1049575 h 1350963"/>
              <a:gd name="connsiteX3" fmla="*/ 752049 w 1353313"/>
              <a:gd name="connsiteY3" fmla="*/ 1041975 h 1350963"/>
              <a:gd name="connsiteX4" fmla="*/ 781286 w 1353313"/>
              <a:gd name="connsiteY4" fmla="*/ 1032899 h 1350963"/>
              <a:gd name="connsiteX5" fmla="*/ 793594 w 1353313"/>
              <a:gd name="connsiteY5" fmla="*/ 1067314 h 1350963"/>
              <a:gd name="connsiteX6" fmla="*/ 880520 w 1353313"/>
              <a:gd name="connsiteY6" fmla="*/ 1316925 h 1350963"/>
              <a:gd name="connsiteX7" fmla="*/ 672654 w 1353313"/>
              <a:gd name="connsiteY7" fmla="*/ 1350963 h 1350963"/>
              <a:gd name="connsiteX8" fmla="*/ 135982 w 1353313"/>
              <a:gd name="connsiteY8" fmla="*/ 1078660 h 1350963"/>
              <a:gd name="connsiteX9" fmla="*/ 1018574 w 1353313"/>
              <a:gd name="connsiteY9" fmla="*/ 826213 h 1350963"/>
              <a:gd name="connsiteX10" fmla="*/ 1027414 w 1353313"/>
              <a:gd name="connsiteY10" fmla="*/ 829606 h 1350963"/>
              <a:gd name="connsiteX11" fmla="*/ 1301207 w 1353313"/>
              <a:gd name="connsiteY11" fmla="*/ 934696 h 1350963"/>
              <a:gd name="connsiteX12" fmla="*/ 918864 w 1353313"/>
              <a:gd name="connsiteY12" fmla="*/ 1304925 h 1350963"/>
              <a:gd name="connsiteX13" fmla="*/ 819807 w 1353313"/>
              <a:gd name="connsiteY13" fmla="*/ 1020942 h 1350963"/>
              <a:gd name="connsiteX14" fmla="*/ 822270 w 1353313"/>
              <a:gd name="connsiteY14" fmla="*/ 1020177 h 1350963"/>
              <a:gd name="connsiteX15" fmla="*/ 986861 w 1353313"/>
              <a:gd name="connsiteY15" fmla="*/ 884640 h 1350963"/>
              <a:gd name="connsiteX16" fmla="*/ 1330677 w 1353313"/>
              <a:gd name="connsiteY16" fmla="*/ 503238 h 1350963"/>
              <a:gd name="connsiteX17" fmla="*/ 1315552 w 1353313"/>
              <a:gd name="connsiteY17" fmla="*/ 896938 h 1350963"/>
              <a:gd name="connsiteX18" fmla="*/ 1073087 w 1353313"/>
              <a:gd name="connsiteY18" fmla="*/ 804310 h 1350963"/>
              <a:gd name="connsiteX19" fmla="*/ 1031495 w 1353313"/>
              <a:gd name="connsiteY19" fmla="*/ 788421 h 1350963"/>
              <a:gd name="connsiteX20" fmla="*/ 1043150 w 1353313"/>
              <a:gd name="connsiteY20" fmla="*/ 750874 h 1350963"/>
              <a:gd name="connsiteX21" fmla="*/ 1050750 w 1353313"/>
              <a:gd name="connsiteY21" fmla="*/ 675481 h 1350963"/>
              <a:gd name="connsiteX22" fmla="*/ 1043150 w 1353313"/>
              <a:gd name="connsiteY22" fmla="*/ 600088 h 1350963"/>
              <a:gd name="connsiteX23" fmla="*/ 1039747 w 1353313"/>
              <a:gd name="connsiteY23" fmla="*/ 589126 h 1350963"/>
              <a:gd name="connsiteX24" fmla="*/ 1057205 w 1353313"/>
              <a:gd name="connsiteY24" fmla="*/ 583972 h 1350963"/>
              <a:gd name="connsiteX25" fmla="*/ 1330677 w 1353313"/>
              <a:gd name="connsiteY25" fmla="*/ 503238 h 1350963"/>
              <a:gd name="connsiteX26" fmla="*/ 672618 w 1353313"/>
              <a:gd name="connsiteY26" fmla="*/ 0 h 1350963"/>
              <a:gd name="connsiteX27" fmla="*/ 793517 w 1353313"/>
              <a:gd name="connsiteY27" fmla="*/ 7569 h 1350963"/>
              <a:gd name="connsiteX28" fmla="*/ 1227995 w 1353313"/>
              <a:gd name="connsiteY28" fmla="*/ 287637 h 1350963"/>
              <a:gd name="connsiteX29" fmla="*/ 1318669 w 1353313"/>
              <a:gd name="connsiteY29" fmla="*/ 465517 h 1350963"/>
              <a:gd name="connsiteX30" fmla="*/ 1050898 w 1353313"/>
              <a:gd name="connsiteY30" fmla="*/ 543754 h 1350963"/>
              <a:gd name="connsiteX31" fmla="*/ 1027761 w 1353313"/>
              <a:gd name="connsiteY31" fmla="*/ 550514 h 1350963"/>
              <a:gd name="connsiteX32" fmla="*/ 1021352 w 1353313"/>
              <a:gd name="connsiteY32" fmla="*/ 529867 h 1350963"/>
              <a:gd name="connsiteX33" fmla="*/ 676656 w 1353313"/>
              <a:gd name="connsiteY33" fmla="*/ 301387 h 1350963"/>
              <a:gd name="connsiteX34" fmla="*/ 302562 w 1353313"/>
              <a:gd name="connsiteY34" fmla="*/ 675481 h 1350963"/>
              <a:gd name="connsiteX35" fmla="*/ 331960 w 1353313"/>
              <a:gd name="connsiteY35" fmla="*/ 821095 h 1350963"/>
              <a:gd name="connsiteX36" fmla="*/ 359245 w 1353313"/>
              <a:gd name="connsiteY36" fmla="*/ 871363 h 1350963"/>
              <a:gd name="connsiteX37" fmla="*/ 354910 w 1353313"/>
              <a:gd name="connsiteY37" fmla="*/ 874372 h 1350963"/>
              <a:gd name="connsiteX38" fmla="*/ 109686 w 1353313"/>
              <a:gd name="connsiteY38" fmla="*/ 1044575 h 1350963"/>
              <a:gd name="connsiteX39" fmla="*/ 45458 w 1353313"/>
              <a:gd name="connsiteY39" fmla="*/ 435240 h 1350963"/>
              <a:gd name="connsiteX40" fmla="*/ 287255 w 1353313"/>
              <a:gd name="connsiteY40" fmla="*/ 121110 h 1350963"/>
              <a:gd name="connsiteX41" fmla="*/ 672618 w 1353313"/>
              <a:gd name="connsiteY41" fmla="*/ 0 h 135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3313" h="1350963">
                <a:moveTo>
                  <a:pt x="383487" y="905287"/>
                </a:moveTo>
                <a:lnTo>
                  <a:pt x="412132" y="940005"/>
                </a:lnTo>
                <a:cubicBezTo>
                  <a:pt x="479830" y="1007703"/>
                  <a:pt x="573353" y="1049575"/>
                  <a:pt x="676656" y="1049575"/>
                </a:cubicBezTo>
                <a:cubicBezTo>
                  <a:pt x="702482" y="1049575"/>
                  <a:pt x="727696" y="1046958"/>
                  <a:pt x="752049" y="1041975"/>
                </a:cubicBezTo>
                <a:lnTo>
                  <a:pt x="781286" y="1032899"/>
                </a:lnTo>
                <a:lnTo>
                  <a:pt x="793594" y="1067314"/>
                </a:lnTo>
                <a:cubicBezTo>
                  <a:pt x="793594" y="1067314"/>
                  <a:pt x="793594" y="1067314"/>
                  <a:pt x="880520" y="1316925"/>
                </a:cubicBezTo>
                <a:cubicBezTo>
                  <a:pt x="812491" y="1339617"/>
                  <a:pt x="740683" y="1350963"/>
                  <a:pt x="672654" y="1350963"/>
                </a:cubicBezTo>
                <a:cubicBezTo>
                  <a:pt x="457229" y="1350963"/>
                  <a:pt x="264481" y="1252631"/>
                  <a:pt x="135982" y="1078660"/>
                </a:cubicBezTo>
                <a:close/>
                <a:moveTo>
                  <a:pt x="1018574" y="826213"/>
                </a:moveTo>
                <a:lnTo>
                  <a:pt x="1027414" y="829606"/>
                </a:lnTo>
                <a:cubicBezTo>
                  <a:pt x="1100512" y="857663"/>
                  <a:pt x="1190479" y="892195"/>
                  <a:pt x="1301207" y="934696"/>
                </a:cubicBezTo>
                <a:cubicBezTo>
                  <a:pt x="1229281" y="1108477"/>
                  <a:pt x="1096786" y="1236924"/>
                  <a:pt x="918864" y="1304925"/>
                </a:cubicBezTo>
                <a:lnTo>
                  <a:pt x="819807" y="1020942"/>
                </a:lnTo>
                <a:lnTo>
                  <a:pt x="822270" y="1020177"/>
                </a:lnTo>
                <a:cubicBezTo>
                  <a:pt x="889404" y="991781"/>
                  <a:pt x="946524" y="944346"/>
                  <a:pt x="986861" y="884640"/>
                </a:cubicBezTo>
                <a:close/>
                <a:moveTo>
                  <a:pt x="1330677" y="503238"/>
                </a:moveTo>
                <a:cubicBezTo>
                  <a:pt x="1364707" y="635733"/>
                  <a:pt x="1360926" y="764443"/>
                  <a:pt x="1315552" y="896938"/>
                </a:cubicBezTo>
                <a:cubicBezTo>
                  <a:pt x="1315552" y="896938"/>
                  <a:pt x="1315552" y="896938"/>
                  <a:pt x="1073087" y="804310"/>
                </a:cubicBezTo>
                <a:lnTo>
                  <a:pt x="1031495" y="788421"/>
                </a:lnTo>
                <a:lnTo>
                  <a:pt x="1043150" y="750874"/>
                </a:lnTo>
                <a:cubicBezTo>
                  <a:pt x="1048133" y="726521"/>
                  <a:pt x="1050750" y="701307"/>
                  <a:pt x="1050750" y="675481"/>
                </a:cubicBezTo>
                <a:cubicBezTo>
                  <a:pt x="1050750" y="649655"/>
                  <a:pt x="1048133" y="624441"/>
                  <a:pt x="1043150" y="600088"/>
                </a:cubicBezTo>
                <a:lnTo>
                  <a:pt x="1039747" y="589126"/>
                </a:lnTo>
                <a:lnTo>
                  <a:pt x="1057205" y="583972"/>
                </a:lnTo>
                <a:cubicBezTo>
                  <a:pt x="1130218" y="562417"/>
                  <a:pt x="1220079" y="535889"/>
                  <a:pt x="1330677" y="503238"/>
                </a:cubicBezTo>
                <a:close/>
                <a:moveTo>
                  <a:pt x="672618" y="0"/>
                </a:moveTo>
                <a:cubicBezTo>
                  <a:pt x="714177" y="0"/>
                  <a:pt x="751958" y="3785"/>
                  <a:pt x="793517" y="7569"/>
                </a:cubicBezTo>
                <a:cubicBezTo>
                  <a:pt x="971086" y="41632"/>
                  <a:pt x="1125987" y="140034"/>
                  <a:pt x="1227995" y="287637"/>
                </a:cubicBezTo>
                <a:cubicBezTo>
                  <a:pt x="1269554" y="344407"/>
                  <a:pt x="1296001" y="401177"/>
                  <a:pt x="1318669" y="465517"/>
                </a:cubicBezTo>
                <a:cubicBezTo>
                  <a:pt x="1318669" y="465517"/>
                  <a:pt x="1318669" y="465517"/>
                  <a:pt x="1050898" y="543754"/>
                </a:cubicBezTo>
                <a:lnTo>
                  <a:pt x="1027761" y="550514"/>
                </a:lnTo>
                <a:lnTo>
                  <a:pt x="1021352" y="529867"/>
                </a:lnTo>
                <a:cubicBezTo>
                  <a:pt x="964561" y="395599"/>
                  <a:pt x="831611" y="301387"/>
                  <a:pt x="676656" y="301387"/>
                </a:cubicBezTo>
                <a:cubicBezTo>
                  <a:pt x="470050" y="301387"/>
                  <a:pt x="302562" y="468875"/>
                  <a:pt x="302562" y="675481"/>
                </a:cubicBezTo>
                <a:cubicBezTo>
                  <a:pt x="302562" y="727133"/>
                  <a:pt x="313030" y="776339"/>
                  <a:pt x="331960" y="821095"/>
                </a:cubicBezTo>
                <a:lnTo>
                  <a:pt x="359245" y="871363"/>
                </a:lnTo>
                <a:lnTo>
                  <a:pt x="354910" y="874372"/>
                </a:lnTo>
                <a:cubicBezTo>
                  <a:pt x="289440" y="919813"/>
                  <a:pt x="208860" y="975741"/>
                  <a:pt x="109686" y="1044575"/>
                </a:cubicBezTo>
                <a:cubicBezTo>
                  <a:pt x="-7435" y="862910"/>
                  <a:pt x="-33881" y="635828"/>
                  <a:pt x="45458" y="435240"/>
                </a:cubicBezTo>
                <a:cubicBezTo>
                  <a:pt x="94573" y="306560"/>
                  <a:pt x="177691" y="200589"/>
                  <a:pt x="287255" y="121110"/>
                </a:cubicBezTo>
                <a:cubicBezTo>
                  <a:pt x="404375" y="41632"/>
                  <a:pt x="536608" y="0"/>
                  <a:pt x="672618"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201" name="Group 200"/>
          <p:cNvGrpSpPr/>
          <p:nvPr userDrawn="1"/>
        </p:nvGrpSpPr>
        <p:grpSpPr>
          <a:xfrm flipH="1">
            <a:off x="9576104" y="5249954"/>
            <a:ext cx="771346" cy="576567"/>
            <a:chOff x="4008508" y="7417591"/>
            <a:chExt cx="6251575" cy="4673602"/>
          </a:xfrm>
          <a:solidFill>
            <a:schemeClr val="bg1">
              <a:lumMod val="85000"/>
            </a:schemeClr>
          </a:solidFill>
        </p:grpSpPr>
        <p:sp>
          <p:nvSpPr>
            <p:cNvPr id="202" name="Freeform 9"/>
            <p:cNvSpPr>
              <a:spLocks noEditPoints="1"/>
            </p:cNvSpPr>
            <p:nvPr/>
          </p:nvSpPr>
          <p:spPr bwMode="auto">
            <a:xfrm>
              <a:off x="4008508" y="7417591"/>
              <a:ext cx="6251575" cy="4673602"/>
            </a:xfrm>
            <a:custGeom>
              <a:avLst/>
              <a:gdLst>
                <a:gd name="T0" fmla="*/ 1479 w 1664"/>
                <a:gd name="T1" fmla="*/ 0 h 1244"/>
                <a:gd name="T2" fmla="*/ 186 w 1664"/>
                <a:gd name="T3" fmla="*/ 0 h 1244"/>
                <a:gd name="T4" fmla="*/ 0 w 1664"/>
                <a:gd name="T5" fmla="*/ 186 h 1244"/>
                <a:gd name="T6" fmla="*/ 0 w 1664"/>
                <a:gd name="T7" fmla="*/ 767 h 1244"/>
                <a:gd name="T8" fmla="*/ 186 w 1664"/>
                <a:gd name="T9" fmla="*/ 952 h 1244"/>
                <a:gd name="T10" fmla="*/ 302 w 1664"/>
                <a:gd name="T11" fmla="*/ 952 h 1244"/>
                <a:gd name="T12" fmla="*/ 459 w 1664"/>
                <a:gd name="T13" fmla="*/ 1224 h 1244"/>
                <a:gd name="T14" fmla="*/ 494 w 1664"/>
                <a:gd name="T15" fmla="*/ 1244 h 1244"/>
                <a:gd name="T16" fmla="*/ 529 w 1664"/>
                <a:gd name="T17" fmla="*/ 1224 h 1244"/>
                <a:gd name="T18" fmla="*/ 686 w 1664"/>
                <a:gd name="T19" fmla="*/ 952 h 1244"/>
                <a:gd name="T20" fmla="*/ 1479 w 1664"/>
                <a:gd name="T21" fmla="*/ 952 h 1244"/>
                <a:gd name="T22" fmla="*/ 1664 w 1664"/>
                <a:gd name="T23" fmla="*/ 767 h 1244"/>
                <a:gd name="T24" fmla="*/ 1664 w 1664"/>
                <a:gd name="T25" fmla="*/ 186 h 1244"/>
                <a:gd name="T26" fmla="*/ 1479 w 1664"/>
                <a:gd name="T27" fmla="*/ 0 h 1244"/>
                <a:gd name="T28" fmla="*/ 1584 w 1664"/>
                <a:gd name="T29" fmla="*/ 767 h 1244"/>
                <a:gd name="T30" fmla="*/ 1479 w 1664"/>
                <a:gd name="T31" fmla="*/ 872 h 1244"/>
                <a:gd name="T32" fmla="*/ 663 w 1664"/>
                <a:gd name="T33" fmla="*/ 872 h 1244"/>
                <a:gd name="T34" fmla="*/ 628 w 1664"/>
                <a:gd name="T35" fmla="*/ 892 h 1244"/>
                <a:gd name="T36" fmla="*/ 494 w 1664"/>
                <a:gd name="T37" fmla="*/ 1124 h 1244"/>
                <a:gd name="T38" fmla="*/ 359 w 1664"/>
                <a:gd name="T39" fmla="*/ 892 h 1244"/>
                <a:gd name="T40" fmla="*/ 325 w 1664"/>
                <a:gd name="T41" fmla="*/ 872 h 1244"/>
                <a:gd name="T42" fmla="*/ 186 w 1664"/>
                <a:gd name="T43" fmla="*/ 872 h 1244"/>
                <a:gd name="T44" fmla="*/ 80 w 1664"/>
                <a:gd name="T45" fmla="*/ 767 h 1244"/>
                <a:gd name="T46" fmla="*/ 80 w 1664"/>
                <a:gd name="T47" fmla="*/ 186 h 1244"/>
                <a:gd name="T48" fmla="*/ 186 w 1664"/>
                <a:gd name="T49" fmla="*/ 80 h 1244"/>
                <a:gd name="T50" fmla="*/ 1479 w 1664"/>
                <a:gd name="T51" fmla="*/ 80 h 1244"/>
                <a:gd name="T52" fmla="*/ 1584 w 1664"/>
                <a:gd name="T53" fmla="*/ 186 h 1244"/>
                <a:gd name="T54" fmla="*/ 1584 w 1664"/>
                <a:gd name="T55" fmla="*/ 767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64" h="1244">
                  <a:moveTo>
                    <a:pt x="1479" y="0"/>
                  </a:moveTo>
                  <a:cubicBezTo>
                    <a:pt x="186" y="0"/>
                    <a:pt x="186" y="0"/>
                    <a:pt x="186" y="0"/>
                  </a:cubicBezTo>
                  <a:cubicBezTo>
                    <a:pt x="83" y="0"/>
                    <a:pt x="0" y="83"/>
                    <a:pt x="0" y="186"/>
                  </a:cubicBezTo>
                  <a:cubicBezTo>
                    <a:pt x="0" y="767"/>
                    <a:pt x="0" y="767"/>
                    <a:pt x="0" y="767"/>
                  </a:cubicBezTo>
                  <a:cubicBezTo>
                    <a:pt x="0" y="869"/>
                    <a:pt x="83" y="952"/>
                    <a:pt x="186" y="952"/>
                  </a:cubicBezTo>
                  <a:cubicBezTo>
                    <a:pt x="302" y="952"/>
                    <a:pt x="302" y="952"/>
                    <a:pt x="302" y="952"/>
                  </a:cubicBezTo>
                  <a:cubicBezTo>
                    <a:pt x="459" y="1224"/>
                    <a:pt x="459" y="1224"/>
                    <a:pt x="459" y="1224"/>
                  </a:cubicBezTo>
                  <a:cubicBezTo>
                    <a:pt x="466" y="1236"/>
                    <a:pt x="480" y="1244"/>
                    <a:pt x="494" y="1244"/>
                  </a:cubicBezTo>
                  <a:cubicBezTo>
                    <a:pt x="508" y="1244"/>
                    <a:pt x="521" y="1236"/>
                    <a:pt x="529" y="1224"/>
                  </a:cubicBezTo>
                  <a:cubicBezTo>
                    <a:pt x="686" y="952"/>
                    <a:pt x="686" y="952"/>
                    <a:pt x="686" y="952"/>
                  </a:cubicBezTo>
                  <a:cubicBezTo>
                    <a:pt x="1479" y="952"/>
                    <a:pt x="1479" y="952"/>
                    <a:pt x="1479" y="952"/>
                  </a:cubicBezTo>
                  <a:cubicBezTo>
                    <a:pt x="1581" y="952"/>
                    <a:pt x="1664" y="869"/>
                    <a:pt x="1664" y="767"/>
                  </a:cubicBezTo>
                  <a:cubicBezTo>
                    <a:pt x="1664" y="186"/>
                    <a:pt x="1664" y="186"/>
                    <a:pt x="1664" y="186"/>
                  </a:cubicBezTo>
                  <a:cubicBezTo>
                    <a:pt x="1664" y="83"/>
                    <a:pt x="1581" y="0"/>
                    <a:pt x="1479" y="0"/>
                  </a:cubicBezTo>
                  <a:close/>
                  <a:moveTo>
                    <a:pt x="1584" y="767"/>
                  </a:moveTo>
                  <a:cubicBezTo>
                    <a:pt x="1584" y="825"/>
                    <a:pt x="1537" y="872"/>
                    <a:pt x="1479" y="872"/>
                  </a:cubicBezTo>
                  <a:cubicBezTo>
                    <a:pt x="663" y="872"/>
                    <a:pt x="663" y="872"/>
                    <a:pt x="663" y="872"/>
                  </a:cubicBezTo>
                  <a:cubicBezTo>
                    <a:pt x="649" y="872"/>
                    <a:pt x="636" y="879"/>
                    <a:pt x="628" y="892"/>
                  </a:cubicBezTo>
                  <a:cubicBezTo>
                    <a:pt x="494" y="1124"/>
                    <a:pt x="494" y="1124"/>
                    <a:pt x="494" y="1124"/>
                  </a:cubicBezTo>
                  <a:cubicBezTo>
                    <a:pt x="359" y="892"/>
                    <a:pt x="359" y="892"/>
                    <a:pt x="359" y="892"/>
                  </a:cubicBezTo>
                  <a:cubicBezTo>
                    <a:pt x="352" y="879"/>
                    <a:pt x="339" y="872"/>
                    <a:pt x="325" y="872"/>
                  </a:cubicBezTo>
                  <a:cubicBezTo>
                    <a:pt x="186" y="872"/>
                    <a:pt x="186" y="872"/>
                    <a:pt x="186" y="872"/>
                  </a:cubicBezTo>
                  <a:cubicBezTo>
                    <a:pt x="128" y="872"/>
                    <a:pt x="80" y="825"/>
                    <a:pt x="80" y="767"/>
                  </a:cubicBezTo>
                  <a:cubicBezTo>
                    <a:pt x="80" y="186"/>
                    <a:pt x="80" y="186"/>
                    <a:pt x="80" y="186"/>
                  </a:cubicBezTo>
                  <a:cubicBezTo>
                    <a:pt x="80" y="128"/>
                    <a:pt x="128" y="80"/>
                    <a:pt x="186" y="80"/>
                  </a:cubicBezTo>
                  <a:cubicBezTo>
                    <a:pt x="1479" y="80"/>
                    <a:pt x="1479" y="80"/>
                    <a:pt x="1479" y="80"/>
                  </a:cubicBezTo>
                  <a:cubicBezTo>
                    <a:pt x="1537" y="80"/>
                    <a:pt x="1584" y="128"/>
                    <a:pt x="1584" y="186"/>
                  </a:cubicBezTo>
                  <a:lnTo>
                    <a:pt x="1584" y="76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3" name="Freeform 10"/>
            <p:cNvSpPr>
              <a:spLocks noEditPoints="1"/>
            </p:cNvSpPr>
            <p:nvPr/>
          </p:nvSpPr>
          <p:spPr bwMode="auto">
            <a:xfrm>
              <a:off x="4659383" y="8484391"/>
              <a:ext cx="1419225" cy="1420813"/>
            </a:xfrm>
            <a:custGeom>
              <a:avLst/>
              <a:gdLst>
                <a:gd name="T0" fmla="*/ 189 w 378"/>
                <a:gd name="T1" fmla="*/ 0 h 378"/>
                <a:gd name="T2" fmla="*/ 0 w 378"/>
                <a:gd name="T3" fmla="*/ 189 h 378"/>
                <a:gd name="T4" fmla="*/ 189 w 378"/>
                <a:gd name="T5" fmla="*/ 378 h 378"/>
                <a:gd name="T6" fmla="*/ 378 w 378"/>
                <a:gd name="T7" fmla="*/ 189 h 378"/>
                <a:gd name="T8" fmla="*/ 189 w 378"/>
                <a:gd name="T9" fmla="*/ 0 h 378"/>
                <a:gd name="T10" fmla="*/ 189 w 378"/>
                <a:gd name="T11" fmla="*/ 298 h 378"/>
                <a:gd name="T12" fmla="*/ 80 w 378"/>
                <a:gd name="T13" fmla="*/ 189 h 378"/>
                <a:gd name="T14" fmla="*/ 189 w 378"/>
                <a:gd name="T15" fmla="*/ 80 h 378"/>
                <a:gd name="T16" fmla="*/ 298 w 378"/>
                <a:gd name="T17" fmla="*/ 189 h 378"/>
                <a:gd name="T18" fmla="*/ 189 w 378"/>
                <a:gd name="T19" fmla="*/ 29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8" h="378">
                  <a:moveTo>
                    <a:pt x="189" y="0"/>
                  </a:moveTo>
                  <a:cubicBezTo>
                    <a:pt x="85" y="0"/>
                    <a:pt x="0" y="85"/>
                    <a:pt x="0" y="189"/>
                  </a:cubicBezTo>
                  <a:cubicBezTo>
                    <a:pt x="0" y="293"/>
                    <a:pt x="85" y="378"/>
                    <a:pt x="189" y="378"/>
                  </a:cubicBezTo>
                  <a:cubicBezTo>
                    <a:pt x="293" y="378"/>
                    <a:pt x="378" y="293"/>
                    <a:pt x="378" y="189"/>
                  </a:cubicBezTo>
                  <a:cubicBezTo>
                    <a:pt x="378" y="85"/>
                    <a:pt x="293" y="0"/>
                    <a:pt x="189" y="0"/>
                  </a:cubicBezTo>
                  <a:close/>
                  <a:moveTo>
                    <a:pt x="189" y="298"/>
                  </a:moveTo>
                  <a:cubicBezTo>
                    <a:pt x="129" y="298"/>
                    <a:pt x="80" y="249"/>
                    <a:pt x="80" y="189"/>
                  </a:cubicBezTo>
                  <a:cubicBezTo>
                    <a:pt x="80" y="129"/>
                    <a:pt x="129" y="80"/>
                    <a:pt x="189" y="80"/>
                  </a:cubicBezTo>
                  <a:cubicBezTo>
                    <a:pt x="249" y="80"/>
                    <a:pt x="298" y="129"/>
                    <a:pt x="298" y="189"/>
                  </a:cubicBezTo>
                  <a:cubicBezTo>
                    <a:pt x="298" y="249"/>
                    <a:pt x="249" y="298"/>
                    <a:pt x="189" y="29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4" name="Freeform 11"/>
            <p:cNvSpPr>
              <a:spLocks noEditPoints="1"/>
            </p:cNvSpPr>
            <p:nvPr/>
          </p:nvSpPr>
          <p:spPr bwMode="auto">
            <a:xfrm>
              <a:off x="6424683" y="8484391"/>
              <a:ext cx="1419225" cy="1420813"/>
            </a:xfrm>
            <a:custGeom>
              <a:avLst/>
              <a:gdLst>
                <a:gd name="T0" fmla="*/ 189 w 378"/>
                <a:gd name="T1" fmla="*/ 0 h 378"/>
                <a:gd name="T2" fmla="*/ 0 w 378"/>
                <a:gd name="T3" fmla="*/ 189 h 378"/>
                <a:gd name="T4" fmla="*/ 189 w 378"/>
                <a:gd name="T5" fmla="*/ 378 h 378"/>
                <a:gd name="T6" fmla="*/ 378 w 378"/>
                <a:gd name="T7" fmla="*/ 189 h 378"/>
                <a:gd name="T8" fmla="*/ 189 w 378"/>
                <a:gd name="T9" fmla="*/ 0 h 378"/>
                <a:gd name="T10" fmla="*/ 189 w 378"/>
                <a:gd name="T11" fmla="*/ 298 h 378"/>
                <a:gd name="T12" fmla="*/ 81 w 378"/>
                <a:gd name="T13" fmla="*/ 189 h 378"/>
                <a:gd name="T14" fmla="*/ 189 w 378"/>
                <a:gd name="T15" fmla="*/ 80 h 378"/>
                <a:gd name="T16" fmla="*/ 298 w 378"/>
                <a:gd name="T17" fmla="*/ 189 h 378"/>
                <a:gd name="T18" fmla="*/ 189 w 378"/>
                <a:gd name="T19" fmla="*/ 29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8" h="378">
                  <a:moveTo>
                    <a:pt x="189" y="0"/>
                  </a:moveTo>
                  <a:cubicBezTo>
                    <a:pt x="85" y="0"/>
                    <a:pt x="0" y="85"/>
                    <a:pt x="0" y="189"/>
                  </a:cubicBezTo>
                  <a:cubicBezTo>
                    <a:pt x="0" y="293"/>
                    <a:pt x="85" y="378"/>
                    <a:pt x="189" y="378"/>
                  </a:cubicBezTo>
                  <a:cubicBezTo>
                    <a:pt x="294" y="378"/>
                    <a:pt x="378" y="293"/>
                    <a:pt x="378" y="189"/>
                  </a:cubicBezTo>
                  <a:cubicBezTo>
                    <a:pt x="378" y="85"/>
                    <a:pt x="294" y="0"/>
                    <a:pt x="189" y="0"/>
                  </a:cubicBezTo>
                  <a:close/>
                  <a:moveTo>
                    <a:pt x="189" y="298"/>
                  </a:moveTo>
                  <a:cubicBezTo>
                    <a:pt x="129" y="298"/>
                    <a:pt x="81" y="249"/>
                    <a:pt x="81" y="189"/>
                  </a:cubicBezTo>
                  <a:cubicBezTo>
                    <a:pt x="81" y="129"/>
                    <a:pt x="129" y="80"/>
                    <a:pt x="189" y="80"/>
                  </a:cubicBezTo>
                  <a:cubicBezTo>
                    <a:pt x="249" y="80"/>
                    <a:pt x="298" y="129"/>
                    <a:pt x="298" y="189"/>
                  </a:cubicBezTo>
                  <a:cubicBezTo>
                    <a:pt x="298" y="249"/>
                    <a:pt x="249" y="298"/>
                    <a:pt x="189" y="29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5" name="Oval 12"/>
            <p:cNvSpPr>
              <a:spLocks noChangeArrowheads="1"/>
            </p:cNvSpPr>
            <p:nvPr/>
          </p:nvSpPr>
          <p:spPr bwMode="auto">
            <a:xfrm>
              <a:off x="8193158" y="8484391"/>
              <a:ext cx="1416050" cy="1420813"/>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grpSp>
        <p:nvGrpSpPr>
          <p:cNvPr id="206" name="Group 205"/>
          <p:cNvGrpSpPr/>
          <p:nvPr userDrawn="1"/>
        </p:nvGrpSpPr>
        <p:grpSpPr>
          <a:xfrm rot="5400000">
            <a:off x="12498956" y="-248056"/>
            <a:ext cx="423577" cy="1119342"/>
            <a:chOff x="7135813" y="-2359018"/>
            <a:chExt cx="1249362" cy="1506530"/>
          </a:xfrm>
          <a:solidFill>
            <a:schemeClr val="bg1">
              <a:lumMod val="85000"/>
            </a:schemeClr>
          </a:solidFill>
        </p:grpSpPr>
        <p:sp>
          <p:nvSpPr>
            <p:cNvPr id="207" name="Rectangle 154"/>
            <p:cNvSpPr>
              <a:spLocks noChangeArrowheads="1"/>
            </p:cNvSpPr>
            <p:nvPr/>
          </p:nvSpPr>
          <p:spPr bwMode="auto">
            <a:xfrm>
              <a:off x="7135813" y="-1401763"/>
              <a:ext cx="374650" cy="5492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155"/>
            <p:cNvSpPr>
              <a:spLocks noChangeArrowheads="1"/>
            </p:cNvSpPr>
            <p:nvPr/>
          </p:nvSpPr>
          <p:spPr bwMode="auto">
            <a:xfrm>
              <a:off x="7135813" y="-2028536"/>
              <a:ext cx="374650" cy="5492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156"/>
            <p:cNvSpPr>
              <a:spLocks noChangeArrowheads="1"/>
            </p:cNvSpPr>
            <p:nvPr/>
          </p:nvSpPr>
          <p:spPr bwMode="auto">
            <a:xfrm>
              <a:off x="7570788" y="-1295400"/>
              <a:ext cx="374650" cy="4429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10" name="Rectangle 157"/>
            <p:cNvSpPr>
              <a:spLocks noChangeArrowheads="1"/>
            </p:cNvSpPr>
            <p:nvPr/>
          </p:nvSpPr>
          <p:spPr bwMode="auto">
            <a:xfrm>
              <a:off x="7570788" y="-2205831"/>
              <a:ext cx="374650" cy="83661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158"/>
            <p:cNvSpPr>
              <a:spLocks noChangeArrowheads="1"/>
            </p:cNvSpPr>
            <p:nvPr/>
          </p:nvSpPr>
          <p:spPr bwMode="auto">
            <a:xfrm>
              <a:off x="8007350" y="-1787525"/>
              <a:ext cx="377825" cy="93503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159"/>
            <p:cNvSpPr>
              <a:spLocks noChangeArrowheads="1"/>
            </p:cNvSpPr>
            <p:nvPr/>
          </p:nvSpPr>
          <p:spPr bwMode="auto">
            <a:xfrm>
              <a:off x="8007350" y="-2359018"/>
              <a:ext cx="377825" cy="5095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213" name="Oval 212"/>
          <p:cNvSpPr/>
          <p:nvPr userDrawn="1"/>
        </p:nvSpPr>
        <p:spPr bwMode="auto">
          <a:xfrm>
            <a:off x="4506101" y="694761"/>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Oval 213"/>
          <p:cNvSpPr/>
          <p:nvPr userDrawn="1"/>
        </p:nvSpPr>
        <p:spPr bwMode="auto">
          <a:xfrm>
            <a:off x="4170990" y="1670827"/>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5" name="Oval 214"/>
          <p:cNvSpPr/>
          <p:nvPr userDrawn="1"/>
        </p:nvSpPr>
        <p:spPr bwMode="auto">
          <a:xfrm>
            <a:off x="2965336" y="2353661"/>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Oval 215"/>
          <p:cNvSpPr/>
          <p:nvPr userDrawn="1"/>
        </p:nvSpPr>
        <p:spPr bwMode="auto">
          <a:xfrm>
            <a:off x="679802" y="669924"/>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Oval 216"/>
          <p:cNvSpPr/>
          <p:nvPr userDrawn="1"/>
        </p:nvSpPr>
        <p:spPr bwMode="auto">
          <a:xfrm>
            <a:off x="793555" y="3513075"/>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8" name="Oval 217"/>
          <p:cNvSpPr/>
          <p:nvPr userDrawn="1"/>
        </p:nvSpPr>
        <p:spPr bwMode="auto">
          <a:xfrm>
            <a:off x="1672807" y="5172439"/>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19" name="Oval 218"/>
          <p:cNvSpPr/>
          <p:nvPr userDrawn="1"/>
        </p:nvSpPr>
        <p:spPr bwMode="auto">
          <a:xfrm>
            <a:off x="3677896" y="4322615"/>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Oval 219"/>
          <p:cNvSpPr/>
          <p:nvPr userDrawn="1"/>
        </p:nvSpPr>
        <p:spPr bwMode="auto">
          <a:xfrm>
            <a:off x="9018715" y="6759952"/>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Oval 220"/>
          <p:cNvSpPr/>
          <p:nvPr userDrawn="1"/>
        </p:nvSpPr>
        <p:spPr bwMode="auto">
          <a:xfrm>
            <a:off x="9326834" y="4949706"/>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Oval 221"/>
          <p:cNvSpPr/>
          <p:nvPr userDrawn="1"/>
        </p:nvSpPr>
        <p:spPr bwMode="auto">
          <a:xfrm>
            <a:off x="12072428" y="2582953"/>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Oval 222"/>
          <p:cNvSpPr/>
          <p:nvPr userDrawn="1"/>
        </p:nvSpPr>
        <p:spPr bwMode="auto">
          <a:xfrm>
            <a:off x="10528763" y="74460"/>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Oval 223"/>
          <p:cNvSpPr/>
          <p:nvPr userDrawn="1"/>
        </p:nvSpPr>
        <p:spPr bwMode="auto">
          <a:xfrm>
            <a:off x="489076" y="6937468"/>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Oval 224"/>
          <p:cNvSpPr/>
          <p:nvPr userDrawn="1"/>
        </p:nvSpPr>
        <p:spPr bwMode="auto">
          <a:xfrm>
            <a:off x="7030663" y="646651"/>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Oval 225"/>
          <p:cNvSpPr/>
          <p:nvPr userDrawn="1"/>
        </p:nvSpPr>
        <p:spPr bwMode="auto">
          <a:xfrm>
            <a:off x="6294760" y="-6319"/>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Oval 226"/>
          <p:cNvSpPr/>
          <p:nvPr userDrawn="1"/>
        </p:nvSpPr>
        <p:spPr bwMode="auto">
          <a:xfrm>
            <a:off x="-93703" y="3959542"/>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Oval 227"/>
          <p:cNvSpPr/>
          <p:nvPr userDrawn="1"/>
        </p:nvSpPr>
        <p:spPr bwMode="auto">
          <a:xfrm>
            <a:off x="8496476" y="1998485"/>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Oval 228"/>
          <p:cNvSpPr/>
          <p:nvPr userDrawn="1"/>
        </p:nvSpPr>
        <p:spPr bwMode="auto">
          <a:xfrm>
            <a:off x="3611059" y="3118921"/>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Oval 229"/>
          <p:cNvSpPr/>
          <p:nvPr userDrawn="1"/>
        </p:nvSpPr>
        <p:spPr bwMode="auto">
          <a:xfrm>
            <a:off x="6244516" y="838686"/>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Oval 230"/>
          <p:cNvSpPr/>
          <p:nvPr userDrawn="1"/>
        </p:nvSpPr>
        <p:spPr bwMode="auto">
          <a:xfrm>
            <a:off x="2764648" y="4164330"/>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Oval 231"/>
          <p:cNvSpPr/>
          <p:nvPr userDrawn="1"/>
        </p:nvSpPr>
        <p:spPr bwMode="auto">
          <a:xfrm>
            <a:off x="525907" y="4750358"/>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3" name="Oval 232"/>
          <p:cNvSpPr/>
          <p:nvPr userDrawn="1"/>
        </p:nvSpPr>
        <p:spPr bwMode="auto">
          <a:xfrm>
            <a:off x="4816698" y="3464914"/>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4" name="Oval 233"/>
          <p:cNvSpPr/>
          <p:nvPr userDrawn="1"/>
        </p:nvSpPr>
        <p:spPr bwMode="auto">
          <a:xfrm>
            <a:off x="9826537" y="2994949"/>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5" name="Oval 234"/>
          <p:cNvSpPr/>
          <p:nvPr userDrawn="1"/>
        </p:nvSpPr>
        <p:spPr bwMode="auto">
          <a:xfrm>
            <a:off x="7789824" y="5681141"/>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6" name="Oval 235"/>
          <p:cNvSpPr/>
          <p:nvPr userDrawn="1"/>
        </p:nvSpPr>
        <p:spPr bwMode="auto">
          <a:xfrm>
            <a:off x="12021409" y="3440385"/>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37" name="Oval 236"/>
          <p:cNvSpPr/>
          <p:nvPr userDrawn="1"/>
        </p:nvSpPr>
        <p:spPr bwMode="auto">
          <a:xfrm>
            <a:off x="11342495" y="5696316"/>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Oval 237"/>
          <p:cNvSpPr/>
          <p:nvPr userDrawn="1"/>
        </p:nvSpPr>
        <p:spPr bwMode="auto">
          <a:xfrm>
            <a:off x="12355127" y="6712203"/>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Oval 238"/>
          <p:cNvSpPr/>
          <p:nvPr userDrawn="1"/>
        </p:nvSpPr>
        <p:spPr bwMode="auto">
          <a:xfrm>
            <a:off x="1386214" y="5070684"/>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Oval 239"/>
          <p:cNvSpPr/>
          <p:nvPr userDrawn="1"/>
        </p:nvSpPr>
        <p:spPr bwMode="auto">
          <a:xfrm>
            <a:off x="1957280" y="86943"/>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Oval 240"/>
          <p:cNvSpPr/>
          <p:nvPr userDrawn="1"/>
        </p:nvSpPr>
        <p:spPr bwMode="auto">
          <a:xfrm>
            <a:off x="6439338" y="6156476"/>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Oval 241"/>
          <p:cNvSpPr/>
          <p:nvPr userDrawn="1"/>
        </p:nvSpPr>
        <p:spPr bwMode="auto">
          <a:xfrm>
            <a:off x="3947489" y="2201522"/>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Oval 242"/>
          <p:cNvSpPr/>
          <p:nvPr userDrawn="1"/>
        </p:nvSpPr>
        <p:spPr bwMode="auto">
          <a:xfrm>
            <a:off x="5036035" y="1142069"/>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243"/>
          <p:cNvSpPr/>
          <p:nvPr userDrawn="1"/>
        </p:nvSpPr>
        <p:spPr bwMode="auto">
          <a:xfrm>
            <a:off x="12008678" y="6611810"/>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Oval 244"/>
          <p:cNvSpPr/>
          <p:nvPr userDrawn="1"/>
        </p:nvSpPr>
        <p:spPr bwMode="auto">
          <a:xfrm>
            <a:off x="7916389" y="5934237"/>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Oval 245"/>
          <p:cNvSpPr/>
          <p:nvPr userDrawn="1"/>
        </p:nvSpPr>
        <p:spPr bwMode="auto">
          <a:xfrm>
            <a:off x="8029178" y="5725526"/>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Oval 246"/>
          <p:cNvSpPr/>
          <p:nvPr userDrawn="1"/>
        </p:nvSpPr>
        <p:spPr bwMode="auto">
          <a:xfrm>
            <a:off x="2057177" y="5196779"/>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Oval 247"/>
          <p:cNvSpPr/>
          <p:nvPr userDrawn="1"/>
        </p:nvSpPr>
        <p:spPr bwMode="auto">
          <a:xfrm>
            <a:off x="4875609" y="5842986"/>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Freeform 5"/>
          <p:cNvSpPr>
            <a:spLocks noEditPoints="1"/>
          </p:cNvSpPr>
          <p:nvPr userDrawn="1"/>
        </p:nvSpPr>
        <p:spPr bwMode="auto">
          <a:xfrm>
            <a:off x="1216094" y="2942204"/>
            <a:ext cx="1795160" cy="1061200"/>
          </a:xfrm>
          <a:custGeom>
            <a:avLst/>
            <a:gdLst>
              <a:gd name="T0" fmla="*/ 443 w 538"/>
              <a:gd name="T1" fmla="*/ 316 h 316"/>
              <a:gd name="T2" fmla="*/ 95 w 538"/>
              <a:gd name="T3" fmla="*/ 316 h 316"/>
              <a:gd name="T4" fmla="*/ 0 w 538"/>
              <a:gd name="T5" fmla="*/ 220 h 316"/>
              <a:gd name="T6" fmla="*/ 95 w 538"/>
              <a:gd name="T7" fmla="*/ 125 h 316"/>
              <a:gd name="T8" fmla="*/ 118 w 538"/>
              <a:gd name="T9" fmla="*/ 128 h 316"/>
              <a:gd name="T10" fmla="*/ 211 w 538"/>
              <a:gd name="T11" fmla="*/ 50 h 316"/>
              <a:gd name="T12" fmla="*/ 268 w 538"/>
              <a:gd name="T13" fmla="*/ 69 h 316"/>
              <a:gd name="T14" fmla="*/ 360 w 538"/>
              <a:gd name="T15" fmla="*/ 0 h 316"/>
              <a:gd name="T16" fmla="*/ 452 w 538"/>
              <a:gd name="T17" fmla="*/ 96 h 316"/>
              <a:gd name="T18" fmla="*/ 449 w 538"/>
              <a:gd name="T19" fmla="*/ 125 h 316"/>
              <a:gd name="T20" fmla="*/ 538 w 538"/>
              <a:gd name="T21" fmla="*/ 220 h 316"/>
              <a:gd name="T22" fmla="*/ 443 w 538"/>
              <a:gd name="T23" fmla="*/ 316 h 316"/>
              <a:gd name="T24" fmla="*/ 95 w 538"/>
              <a:gd name="T25" fmla="*/ 143 h 316"/>
              <a:gd name="T26" fmla="*/ 19 w 538"/>
              <a:gd name="T27" fmla="*/ 220 h 316"/>
              <a:gd name="T28" fmla="*/ 95 w 538"/>
              <a:gd name="T29" fmla="*/ 298 h 316"/>
              <a:gd name="T30" fmla="*/ 443 w 538"/>
              <a:gd name="T31" fmla="*/ 298 h 316"/>
              <a:gd name="T32" fmla="*/ 520 w 538"/>
              <a:gd name="T33" fmla="*/ 220 h 316"/>
              <a:gd name="T34" fmla="*/ 442 w 538"/>
              <a:gd name="T35" fmla="*/ 143 h 316"/>
              <a:gd name="T36" fmla="*/ 442 w 538"/>
              <a:gd name="T37" fmla="*/ 143 h 316"/>
              <a:gd name="T38" fmla="*/ 431 w 538"/>
              <a:gd name="T39" fmla="*/ 143 h 316"/>
              <a:gd name="T40" fmla="*/ 428 w 538"/>
              <a:gd name="T41" fmla="*/ 133 h 316"/>
              <a:gd name="T42" fmla="*/ 434 w 538"/>
              <a:gd name="T43" fmla="*/ 96 h 316"/>
              <a:gd name="T44" fmla="*/ 360 w 538"/>
              <a:gd name="T45" fmla="*/ 19 h 316"/>
              <a:gd name="T46" fmla="*/ 283 w 538"/>
              <a:gd name="T47" fmla="*/ 88 h 316"/>
              <a:gd name="T48" fmla="*/ 277 w 538"/>
              <a:gd name="T49" fmla="*/ 95 h 316"/>
              <a:gd name="T50" fmla="*/ 267 w 538"/>
              <a:gd name="T51" fmla="*/ 93 h 316"/>
              <a:gd name="T52" fmla="*/ 211 w 538"/>
              <a:gd name="T53" fmla="*/ 68 h 316"/>
              <a:gd name="T54" fmla="*/ 135 w 538"/>
              <a:gd name="T55" fmla="*/ 141 h 316"/>
              <a:gd name="T56" fmla="*/ 130 w 538"/>
              <a:gd name="T57" fmla="*/ 149 h 316"/>
              <a:gd name="T58" fmla="*/ 121 w 538"/>
              <a:gd name="T59" fmla="*/ 149 h 316"/>
              <a:gd name="T60" fmla="*/ 95 w 538"/>
              <a:gd name="T61" fmla="*/ 14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8" h="316">
                <a:moveTo>
                  <a:pt x="443" y="316"/>
                </a:moveTo>
                <a:cubicBezTo>
                  <a:pt x="95" y="316"/>
                  <a:pt x="95" y="316"/>
                  <a:pt x="95" y="316"/>
                </a:cubicBezTo>
                <a:cubicBezTo>
                  <a:pt x="44" y="316"/>
                  <a:pt x="0" y="272"/>
                  <a:pt x="0" y="220"/>
                </a:cubicBezTo>
                <a:cubicBezTo>
                  <a:pt x="0" y="168"/>
                  <a:pt x="44" y="125"/>
                  <a:pt x="95" y="125"/>
                </a:cubicBezTo>
                <a:cubicBezTo>
                  <a:pt x="103" y="125"/>
                  <a:pt x="111" y="126"/>
                  <a:pt x="118" y="128"/>
                </a:cubicBezTo>
                <a:cubicBezTo>
                  <a:pt x="126" y="82"/>
                  <a:pt x="164" y="50"/>
                  <a:pt x="211" y="50"/>
                </a:cubicBezTo>
                <a:cubicBezTo>
                  <a:pt x="233" y="50"/>
                  <a:pt x="252" y="56"/>
                  <a:pt x="268" y="69"/>
                </a:cubicBezTo>
                <a:cubicBezTo>
                  <a:pt x="280" y="29"/>
                  <a:pt x="318" y="0"/>
                  <a:pt x="360" y="0"/>
                </a:cubicBezTo>
                <a:cubicBezTo>
                  <a:pt x="411" y="0"/>
                  <a:pt x="452" y="43"/>
                  <a:pt x="452" y="96"/>
                </a:cubicBezTo>
                <a:cubicBezTo>
                  <a:pt x="452" y="106"/>
                  <a:pt x="451" y="116"/>
                  <a:pt x="449" y="125"/>
                </a:cubicBezTo>
                <a:cubicBezTo>
                  <a:pt x="499" y="128"/>
                  <a:pt x="538" y="170"/>
                  <a:pt x="538" y="220"/>
                </a:cubicBezTo>
                <a:cubicBezTo>
                  <a:pt x="538" y="273"/>
                  <a:pt x="495" y="316"/>
                  <a:pt x="443" y="316"/>
                </a:cubicBezTo>
                <a:close/>
                <a:moveTo>
                  <a:pt x="95" y="143"/>
                </a:moveTo>
                <a:cubicBezTo>
                  <a:pt x="54" y="143"/>
                  <a:pt x="19" y="178"/>
                  <a:pt x="19" y="220"/>
                </a:cubicBezTo>
                <a:cubicBezTo>
                  <a:pt x="19" y="262"/>
                  <a:pt x="54" y="298"/>
                  <a:pt x="95" y="298"/>
                </a:cubicBezTo>
                <a:cubicBezTo>
                  <a:pt x="443" y="298"/>
                  <a:pt x="443" y="298"/>
                  <a:pt x="443" y="298"/>
                </a:cubicBezTo>
                <a:cubicBezTo>
                  <a:pt x="485" y="298"/>
                  <a:pt x="520" y="263"/>
                  <a:pt x="520" y="220"/>
                </a:cubicBezTo>
                <a:cubicBezTo>
                  <a:pt x="520" y="177"/>
                  <a:pt x="485" y="143"/>
                  <a:pt x="442" y="143"/>
                </a:cubicBezTo>
                <a:cubicBezTo>
                  <a:pt x="442" y="143"/>
                  <a:pt x="442" y="143"/>
                  <a:pt x="442" y="143"/>
                </a:cubicBezTo>
                <a:cubicBezTo>
                  <a:pt x="439" y="145"/>
                  <a:pt x="435" y="146"/>
                  <a:pt x="431" y="143"/>
                </a:cubicBezTo>
                <a:cubicBezTo>
                  <a:pt x="428" y="141"/>
                  <a:pt x="426" y="137"/>
                  <a:pt x="428" y="133"/>
                </a:cubicBezTo>
                <a:cubicBezTo>
                  <a:pt x="432" y="122"/>
                  <a:pt x="434" y="109"/>
                  <a:pt x="434" y="96"/>
                </a:cubicBezTo>
                <a:cubicBezTo>
                  <a:pt x="434" y="53"/>
                  <a:pt x="401" y="19"/>
                  <a:pt x="360" y="19"/>
                </a:cubicBezTo>
                <a:cubicBezTo>
                  <a:pt x="321" y="19"/>
                  <a:pt x="287" y="49"/>
                  <a:pt x="283" y="88"/>
                </a:cubicBezTo>
                <a:cubicBezTo>
                  <a:pt x="283" y="91"/>
                  <a:pt x="280" y="94"/>
                  <a:pt x="277" y="95"/>
                </a:cubicBezTo>
                <a:cubicBezTo>
                  <a:pt x="273" y="97"/>
                  <a:pt x="269" y="96"/>
                  <a:pt x="267" y="93"/>
                </a:cubicBezTo>
                <a:cubicBezTo>
                  <a:pt x="252" y="76"/>
                  <a:pt x="234" y="68"/>
                  <a:pt x="211" y="68"/>
                </a:cubicBezTo>
                <a:cubicBezTo>
                  <a:pt x="170" y="68"/>
                  <a:pt x="137" y="99"/>
                  <a:pt x="135" y="141"/>
                </a:cubicBezTo>
                <a:cubicBezTo>
                  <a:pt x="134" y="144"/>
                  <a:pt x="133" y="147"/>
                  <a:pt x="130" y="149"/>
                </a:cubicBezTo>
                <a:cubicBezTo>
                  <a:pt x="127" y="150"/>
                  <a:pt x="124" y="150"/>
                  <a:pt x="121" y="149"/>
                </a:cubicBezTo>
                <a:cubicBezTo>
                  <a:pt x="113" y="145"/>
                  <a:pt x="105" y="143"/>
                  <a:pt x="95" y="143"/>
                </a:cubicBezTo>
                <a:close/>
              </a:path>
            </a:pathLst>
          </a:custGeom>
          <a:solidFill>
            <a:schemeClr val="bg1">
              <a:lumMod val="85000"/>
            </a:schemeClr>
          </a:solidFill>
          <a:ln>
            <a:noFill/>
          </a:ln>
        </p:spPr>
        <p:txBody>
          <a:bodyPr vert="horz" wrap="square" lIns="93260" tIns="46630" rIns="93260" bIns="46630" numCol="1" anchor="t" anchorCtr="0" compatLnSpc="1">
            <a:prstTxWarp prst="textNoShape">
              <a:avLst/>
            </a:prstTxWarp>
          </a:bodyPr>
          <a:lstStyle/>
          <a:p>
            <a:endParaRPr lang="en-US" sz="1836">
              <a:solidFill>
                <a:srgbClr val="000000"/>
              </a:solidFill>
            </a:endParaRPr>
          </a:p>
        </p:txBody>
      </p:sp>
      <p:grpSp>
        <p:nvGrpSpPr>
          <p:cNvPr id="250" name="Group 249"/>
          <p:cNvGrpSpPr/>
          <p:nvPr userDrawn="1"/>
        </p:nvGrpSpPr>
        <p:grpSpPr>
          <a:xfrm>
            <a:off x="25900" y="4459361"/>
            <a:ext cx="349777" cy="309248"/>
            <a:chOff x="4283371" y="-977067"/>
            <a:chExt cx="342901" cy="303212"/>
          </a:xfrm>
          <a:solidFill>
            <a:schemeClr val="bg1">
              <a:lumMod val="85000"/>
            </a:schemeClr>
          </a:solidFill>
        </p:grpSpPr>
        <p:sp>
          <p:nvSpPr>
            <p:cNvPr id="251" name="Freeform 19"/>
            <p:cNvSpPr>
              <a:spLocks/>
            </p:cNvSpPr>
            <p:nvPr/>
          </p:nvSpPr>
          <p:spPr bwMode="auto">
            <a:xfrm>
              <a:off x="4283371" y="-977067"/>
              <a:ext cx="177800" cy="303212"/>
            </a:xfrm>
            <a:custGeom>
              <a:avLst/>
              <a:gdLst>
                <a:gd name="T0" fmla="*/ 112 w 112"/>
                <a:gd name="T1" fmla="*/ 0 h 191"/>
                <a:gd name="T2" fmla="*/ 32 w 112"/>
                <a:gd name="T3" fmla="*/ 191 h 191"/>
                <a:gd name="T4" fmla="*/ 0 w 112"/>
                <a:gd name="T5" fmla="*/ 191 h 191"/>
                <a:gd name="T6" fmla="*/ 80 w 112"/>
                <a:gd name="T7" fmla="*/ 0 h 191"/>
                <a:gd name="T8" fmla="*/ 112 w 112"/>
                <a:gd name="T9" fmla="*/ 0 h 191"/>
              </a:gdLst>
              <a:ahLst/>
              <a:cxnLst>
                <a:cxn ang="0">
                  <a:pos x="T0" y="T1"/>
                </a:cxn>
                <a:cxn ang="0">
                  <a:pos x="T2" y="T3"/>
                </a:cxn>
                <a:cxn ang="0">
                  <a:pos x="T4" y="T5"/>
                </a:cxn>
                <a:cxn ang="0">
                  <a:pos x="T6" y="T7"/>
                </a:cxn>
                <a:cxn ang="0">
                  <a:pos x="T8" y="T9"/>
                </a:cxn>
              </a:cxnLst>
              <a:rect l="0" t="0" r="r" b="b"/>
              <a:pathLst>
                <a:path w="112" h="191">
                  <a:moveTo>
                    <a:pt x="112" y="0"/>
                  </a:moveTo>
                  <a:lnTo>
                    <a:pt x="32" y="191"/>
                  </a:lnTo>
                  <a:lnTo>
                    <a:pt x="0" y="191"/>
                  </a:lnTo>
                  <a:lnTo>
                    <a:pt x="80" y="0"/>
                  </a:lnTo>
                  <a:lnTo>
                    <a:pt x="112"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52" name="Freeform 20"/>
            <p:cNvSpPr>
              <a:spLocks/>
            </p:cNvSpPr>
            <p:nvPr/>
          </p:nvSpPr>
          <p:spPr bwMode="auto">
            <a:xfrm>
              <a:off x="4450059" y="-977067"/>
              <a:ext cx="176213" cy="303212"/>
            </a:xfrm>
            <a:custGeom>
              <a:avLst/>
              <a:gdLst>
                <a:gd name="T0" fmla="*/ 111 w 111"/>
                <a:gd name="T1" fmla="*/ 0 h 191"/>
                <a:gd name="T2" fmla="*/ 31 w 111"/>
                <a:gd name="T3" fmla="*/ 191 h 191"/>
                <a:gd name="T4" fmla="*/ 0 w 111"/>
                <a:gd name="T5" fmla="*/ 191 h 191"/>
                <a:gd name="T6" fmla="*/ 77 w 111"/>
                <a:gd name="T7" fmla="*/ 0 h 191"/>
                <a:gd name="T8" fmla="*/ 111 w 111"/>
                <a:gd name="T9" fmla="*/ 0 h 191"/>
              </a:gdLst>
              <a:ahLst/>
              <a:cxnLst>
                <a:cxn ang="0">
                  <a:pos x="T0" y="T1"/>
                </a:cxn>
                <a:cxn ang="0">
                  <a:pos x="T2" y="T3"/>
                </a:cxn>
                <a:cxn ang="0">
                  <a:pos x="T4" y="T5"/>
                </a:cxn>
                <a:cxn ang="0">
                  <a:pos x="T6" y="T7"/>
                </a:cxn>
                <a:cxn ang="0">
                  <a:pos x="T8" y="T9"/>
                </a:cxn>
              </a:cxnLst>
              <a:rect l="0" t="0" r="r" b="b"/>
              <a:pathLst>
                <a:path w="111" h="191">
                  <a:moveTo>
                    <a:pt x="111" y="0"/>
                  </a:moveTo>
                  <a:lnTo>
                    <a:pt x="31" y="191"/>
                  </a:lnTo>
                  <a:lnTo>
                    <a:pt x="0" y="191"/>
                  </a:lnTo>
                  <a:lnTo>
                    <a:pt x="77" y="0"/>
                  </a:lnTo>
                  <a:lnTo>
                    <a:pt x="1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grpSp>
        <p:nvGrpSpPr>
          <p:cNvPr id="253" name="Group 252"/>
          <p:cNvGrpSpPr/>
          <p:nvPr userDrawn="1"/>
        </p:nvGrpSpPr>
        <p:grpSpPr>
          <a:xfrm>
            <a:off x="61157" y="1306196"/>
            <a:ext cx="814525" cy="952033"/>
            <a:chOff x="1490852" y="-1529087"/>
            <a:chExt cx="798513" cy="933450"/>
          </a:xfrm>
          <a:solidFill>
            <a:schemeClr val="bg1">
              <a:lumMod val="85000"/>
            </a:schemeClr>
          </a:solidFill>
        </p:grpSpPr>
        <p:sp>
          <p:nvSpPr>
            <p:cNvPr id="254" name="Freeform 24"/>
            <p:cNvSpPr>
              <a:spLocks noEditPoints="1"/>
            </p:cNvSpPr>
            <p:nvPr/>
          </p:nvSpPr>
          <p:spPr bwMode="auto">
            <a:xfrm>
              <a:off x="1490852" y="-1529087"/>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0 h 70"/>
                <a:gd name="T12" fmla="*/ 24 w 48"/>
                <a:gd name="T13" fmla="*/ 70 h 70"/>
                <a:gd name="T14" fmla="*/ 24 w 48"/>
                <a:gd name="T15" fmla="*/ 11 h 70"/>
                <a:gd name="T16" fmla="*/ 15 w 48"/>
                <a:gd name="T17" fmla="*/ 35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1"/>
                    <a:pt x="48" y="34"/>
                  </a:cubicBezTo>
                  <a:cubicBezTo>
                    <a:pt x="48" y="46"/>
                    <a:pt x="46" y="54"/>
                    <a:pt x="42" y="60"/>
                  </a:cubicBezTo>
                  <a:cubicBezTo>
                    <a:pt x="38" y="66"/>
                    <a:pt x="32" y="70"/>
                    <a:pt x="24" y="70"/>
                  </a:cubicBezTo>
                  <a:close/>
                  <a:moveTo>
                    <a:pt x="24" y="11"/>
                  </a:moveTo>
                  <a:cubicBezTo>
                    <a:pt x="18" y="11"/>
                    <a:pt x="15" y="19"/>
                    <a:pt x="15" y="35"/>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55" name="Freeform 25"/>
            <p:cNvSpPr>
              <a:spLocks/>
            </p:cNvSpPr>
            <p:nvPr/>
          </p:nvSpPr>
          <p:spPr bwMode="auto">
            <a:xfrm>
              <a:off x="1725802" y="-1529087"/>
              <a:ext cx="111125"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7 w 29"/>
                <a:gd name="T11" fmla="*/ 20 h 68"/>
                <a:gd name="T12" fmla="*/ 4 w 29"/>
                <a:gd name="T13" fmla="*/ 21 h 68"/>
                <a:gd name="T14" fmla="*/ 0 w 29"/>
                <a:gd name="T15" fmla="*/ 22 h 68"/>
                <a:gd name="T16" fmla="*/ 0 w 29"/>
                <a:gd name="T17" fmla="*/ 10 h 68"/>
                <a:gd name="T18" fmla="*/ 10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7" y="20"/>
                  </a:cubicBezTo>
                  <a:cubicBezTo>
                    <a:pt x="6" y="21"/>
                    <a:pt x="5" y="21"/>
                    <a:pt x="4" y="21"/>
                  </a:cubicBezTo>
                  <a:cubicBezTo>
                    <a:pt x="2" y="22"/>
                    <a:pt x="1" y="22"/>
                    <a:pt x="0" y="22"/>
                  </a:cubicBezTo>
                  <a:cubicBezTo>
                    <a:pt x="0" y="10"/>
                    <a:pt x="0" y="10"/>
                    <a:pt x="0" y="10"/>
                  </a:cubicBezTo>
                  <a:cubicBezTo>
                    <a:pt x="3" y="9"/>
                    <a:pt x="7" y="7"/>
                    <a:pt x="10"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56" name="Freeform 26"/>
            <p:cNvSpPr>
              <a:spLocks noEditPoints="1"/>
            </p:cNvSpPr>
            <p:nvPr/>
          </p:nvSpPr>
          <p:spPr bwMode="auto">
            <a:xfrm>
              <a:off x="1908365" y="-1529087"/>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4 h 70"/>
                <a:gd name="T10" fmla="*/ 42 w 49"/>
                <a:gd name="T11" fmla="*/ 60 h 70"/>
                <a:gd name="T12" fmla="*/ 24 w 49"/>
                <a:gd name="T13" fmla="*/ 70 h 70"/>
                <a:gd name="T14" fmla="*/ 25 w 49"/>
                <a:gd name="T15" fmla="*/ 11 h 70"/>
                <a:gd name="T16" fmla="*/ 15 w 49"/>
                <a:gd name="T17" fmla="*/ 35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5" y="0"/>
                  </a:cubicBezTo>
                  <a:cubicBezTo>
                    <a:pt x="41" y="0"/>
                    <a:pt x="49" y="11"/>
                    <a:pt x="49" y="34"/>
                  </a:cubicBezTo>
                  <a:cubicBezTo>
                    <a:pt x="49" y="46"/>
                    <a:pt x="47" y="54"/>
                    <a:pt x="42" y="60"/>
                  </a:cubicBezTo>
                  <a:cubicBezTo>
                    <a:pt x="38" y="66"/>
                    <a:pt x="32" y="70"/>
                    <a:pt x="24" y="70"/>
                  </a:cubicBezTo>
                  <a:close/>
                  <a:moveTo>
                    <a:pt x="25" y="11"/>
                  </a:moveTo>
                  <a:cubicBezTo>
                    <a:pt x="18" y="11"/>
                    <a:pt x="15" y="19"/>
                    <a:pt x="15" y="35"/>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57" name="Freeform 27"/>
            <p:cNvSpPr>
              <a:spLocks/>
            </p:cNvSpPr>
            <p:nvPr/>
          </p:nvSpPr>
          <p:spPr bwMode="auto">
            <a:xfrm>
              <a:off x="2144902" y="-1529087"/>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1 h 68"/>
                <a:gd name="T14" fmla="*/ 0 w 29"/>
                <a:gd name="T15" fmla="*/ 22 h 68"/>
                <a:gd name="T16" fmla="*/ 0 w 29"/>
                <a:gd name="T17" fmla="*/ 10 h 68"/>
                <a:gd name="T18" fmla="*/ 11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1" y="18"/>
                  </a:cubicBezTo>
                  <a:cubicBezTo>
                    <a:pt x="10" y="19"/>
                    <a:pt x="9" y="20"/>
                    <a:pt x="8" y="20"/>
                  </a:cubicBezTo>
                  <a:cubicBezTo>
                    <a:pt x="7" y="21"/>
                    <a:pt x="5" y="21"/>
                    <a:pt x="4" y="21"/>
                  </a:cubicBezTo>
                  <a:cubicBezTo>
                    <a:pt x="3" y="22"/>
                    <a:pt x="1" y="22"/>
                    <a:pt x="0" y="22"/>
                  </a:cubicBezTo>
                  <a:cubicBezTo>
                    <a:pt x="0" y="10"/>
                    <a:pt x="0" y="10"/>
                    <a:pt x="0" y="10"/>
                  </a:cubicBezTo>
                  <a:cubicBezTo>
                    <a:pt x="4" y="9"/>
                    <a:pt x="8" y="7"/>
                    <a:pt x="11"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58" name="Freeform 28"/>
            <p:cNvSpPr>
              <a:spLocks/>
            </p:cNvSpPr>
            <p:nvPr/>
          </p:nvSpPr>
          <p:spPr bwMode="auto">
            <a:xfrm>
              <a:off x="1501965" y="-1195712"/>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8" y="20"/>
                  </a:cubicBezTo>
                  <a:cubicBezTo>
                    <a:pt x="6" y="21"/>
                    <a:pt x="5" y="21"/>
                    <a:pt x="4" y="22"/>
                  </a:cubicBezTo>
                  <a:cubicBezTo>
                    <a:pt x="2" y="22"/>
                    <a:pt x="1" y="22"/>
                    <a:pt x="0" y="22"/>
                  </a:cubicBezTo>
                  <a:cubicBezTo>
                    <a:pt x="0" y="10"/>
                    <a:pt x="0" y="10"/>
                    <a:pt x="0" y="10"/>
                  </a:cubicBezTo>
                  <a:cubicBezTo>
                    <a:pt x="4" y="9"/>
                    <a:pt x="7"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59" name="Freeform 29"/>
            <p:cNvSpPr>
              <a:spLocks noEditPoints="1"/>
            </p:cNvSpPr>
            <p:nvPr/>
          </p:nvSpPr>
          <p:spPr bwMode="auto">
            <a:xfrm>
              <a:off x="1684527" y="-1195712"/>
              <a:ext cx="185738" cy="266700"/>
            </a:xfrm>
            <a:custGeom>
              <a:avLst/>
              <a:gdLst>
                <a:gd name="T0" fmla="*/ 24 w 49"/>
                <a:gd name="T1" fmla="*/ 70 h 70"/>
                <a:gd name="T2" fmla="*/ 0 w 49"/>
                <a:gd name="T3" fmla="*/ 36 h 70"/>
                <a:gd name="T4" fmla="*/ 7 w 49"/>
                <a:gd name="T5" fmla="*/ 9 h 70"/>
                <a:gd name="T6" fmla="*/ 26 w 49"/>
                <a:gd name="T7" fmla="*/ 0 h 70"/>
                <a:gd name="T8" fmla="*/ 49 w 49"/>
                <a:gd name="T9" fmla="*/ 34 h 70"/>
                <a:gd name="T10" fmla="*/ 43 w 49"/>
                <a:gd name="T11" fmla="*/ 61 h 70"/>
                <a:gd name="T12" fmla="*/ 24 w 49"/>
                <a:gd name="T13" fmla="*/ 70 h 70"/>
                <a:gd name="T14" fmla="*/ 25 w 49"/>
                <a:gd name="T15" fmla="*/ 11 h 70"/>
                <a:gd name="T16" fmla="*/ 15 w 49"/>
                <a:gd name="T17" fmla="*/ 36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6" y="0"/>
                  </a:cubicBezTo>
                  <a:cubicBezTo>
                    <a:pt x="41" y="0"/>
                    <a:pt x="49" y="12"/>
                    <a:pt x="49" y="34"/>
                  </a:cubicBezTo>
                  <a:cubicBezTo>
                    <a:pt x="49" y="46"/>
                    <a:pt x="47" y="54"/>
                    <a:pt x="43" y="61"/>
                  </a:cubicBezTo>
                  <a:cubicBezTo>
                    <a:pt x="38" y="67"/>
                    <a:pt x="32" y="70"/>
                    <a:pt x="24" y="70"/>
                  </a:cubicBezTo>
                  <a:close/>
                  <a:moveTo>
                    <a:pt x="25" y="11"/>
                  </a:moveTo>
                  <a:cubicBezTo>
                    <a:pt x="18" y="11"/>
                    <a:pt x="15" y="19"/>
                    <a:pt x="15" y="36"/>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60" name="Freeform 30"/>
            <p:cNvSpPr>
              <a:spLocks/>
            </p:cNvSpPr>
            <p:nvPr/>
          </p:nvSpPr>
          <p:spPr bwMode="auto">
            <a:xfrm>
              <a:off x="1919477" y="-1195712"/>
              <a:ext cx="111125" cy="258763"/>
            </a:xfrm>
            <a:custGeom>
              <a:avLst/>
              <a:gdLst>
                <a:gd name="T0" fmla="*/ 29 w 29"/>
                <a:gd name="T1" fmla="*/ 0 h 68"/>
                <a:gd name="T2" fmla="*/ 29 w 29"/>
                <a:gd name="T3" fmla="*/ 68 h 68"/>
                <a:gd name="T4" fmla="*/ 14 w 29"/>
                <a:gd name="T5" fmla="*/ 68 h 68"/>
                <a:gd name="T6" fmla="*/ 14 w 29"/>
                <a:gd name="T7" fmla="*/ 16 h 68"/>
                <a:gd name="T8" fmla="*/ 12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2" y="18"/>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8"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61" name="Freeform 31"/>
            <p:cNvSpPr>
              <a:spLocks noEditPoints="1"/>
            </p:cNvSpPr>
            <p:nvPr/>
          </p:nvSpPr>
          <p:spPr bwMode="auto">
            <a:xfrm>
              <a:off x="2106802" y="-1195712"/>
              <a:ext cx="182563" cy="266700"/>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1 h 70"/>
                <a:gd name="T12" fmla="*/ 24 w 48"/>
                <a:gd name="T13" fmla="*/ 70 h 70"/>
                <a:gd name="T14" fmla="*/ 24 w 48"/>
                <a:gd name="T15" fmla="*/ 11 h 70"/>
                <a:gd name="T16" fmla="*/ 15 w 48"/>
                <a:gd name="T17" fmla="*/ 36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2"/>
                    <a:pt x="48" y="34"/>
                  </a:cubicBezTo>
                  <a:cubicBezTo>
                    <a:pt x="48" y="46"/>
                    <a:pt x="46" y="54"/>
                    <a:pt x="42" y="61"/>
                  </a:cubicBezTo>
                  <a:cubicBezTo>
                    <a:pt x="38" y="67"/>
                    <a:pt x="32" y="70"/>
                    <a:pt x="24" y="70"/>
                  </a:cubicBezTo>
                  <a:close/>
                  <a:moveTo>
                    <a:pt x="24" y="11"/>
                  </a:moveTo>
                  <a:cubicBezTo>
                    <a:pt x="18" y="11"/>
                    <a:pt x="15" y="19"/>
                    <a:pt x="15" y="36"/>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62" name="Freeform 32"/>
            <p:cNvSpPr>
              <a:spLocks noEditPoints="1"/>
            </p:cNvSpPr>
            <p:nvPr/>
          </p:nvSpPr>
          <p:spPr bwMode="auto">
            <a:xfrm>
              <a:off x="1490852" y="-860750"/>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5 h 70"/>
                <a:gd name="T10" fmla="*/ 42 w 48"/>
                <a:gd name="T11" fmla="*/ 61 h 70"/>
                <a:gd name="T12" fmla="*/ 24 w 48"/>
                <a:gd name="T13" fmla="*/ 70 h 70"/>
                <a:gd name="T14" fmla="*/ 24 w 48"/>
                <a:gd name="T15" fmla="*/ 12 h 70"/>
                <a:gd name="T16" fmla="*/ 15 w 48"/>
                <a:gd name="T17" fmla="*/ 36 h 70"/>
                <a:gd name="T18" fmla="*/ 24 w 48"/>
                <a:gd name="T19" fmla="*/ 58 h 70"/>
                <a:gd name="T20" fmla="*/ 33 w 48"/>
                <a:gd name="T21" fmla="*/ 35 h 70"/>
                <a:gd name="T22" fmla="*/ 24 w 48"/>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9"/>
                    <a:pt x="0" y="36"/>
                  </a:cubicBezTo>
                  <a:cubicBezTo>
                    <a:pt x="0" y="24"/>
                    <a:pt x="2" y="16"/>
                    <a:pt x="6" y="9"/>
                  </a:cubicBezTo>
                  <a:cubicBezTo>
                    <a:pt x="10" y="3"/>
                    <a:pt x="17" y="0"/>
                    <a:pt x="25" y="0"/>
                  </a:cubicBezTo>
                  <a:cubicBezTo>
                    <a:pt x="41" y="0"/>
                    <a:pt x="48" y="12"/>
                    <a:pt x="48" y="35"/>
                  </a:cubicBezTo>
                  <a:cubicBezTo>
                    <a:pt x="48" y="46"/>
                    <a:pt x="46" y="55"/>
                    <a:pt x="42" y="61"/>
                  </a:cubicBezTo>
                  <a:cubicBezTo>
                    <a:pt x="38" y="67"/>
                    <a:pt x="32" y="70"/>
                    <a:pt x="24" y="70"/>
                  </a:cubicBezTo>
                  <a:close/>
                  <a:moveTo>
                    <a:pt x="24" y="12"/>
                  </a:moveTo>
                  <a:cubicBezTo>
                    <a:pt x="18" y="12"/>
                    <a:pt x="15" y="20"/>
                    <a:pt x="15" y="36"/>
                  </a:cubicBezTo>
                  <a:cubicBezTo>
                    <a:pt x="15" y="51"/>
                    <a:pt x="18" y="58"/>
                    <a:pt x="24" y="58"/>
                  </a:cubicBezTo>
                  <a:cubicBezTo>
                    <a:pt x="30" y="58"/>
                    <a:pt x="33" y="51"/>
                    <a:pt x="33" y="35"/>
                  </a:cubicBezTo>
                  <a:cubicBezTo>
                    <a:pt x="33" y="19"/>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63" name="Freeform 33"/>
            <p:cNvSpPr>
              <a:spLocks/>
            </p:cNvSpPr>
            <p:nvPr/>
          </p:nvSpPr>
          <p:spPr bwMode="auto">
            <a:xfrm>
              <a:off x="1725802" y="-860750"/>
              <a:ext cx="111125"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7 w 29"/>
                <a:gd name="T11" fmla="*/ 20 h 69"/>
                <a:gd name="T12" fmla="*/ 4 w 29"/>
                <a:gd name="T13" fmla="*/ 22 h 69"/>
                <a:gd name="T14" fmla="*/ 0 w 29"/>
                <a:gd name="T15" fmla="*/ 22 h 69"/>
                <a:gd name="T16" fmla="*/ 0 w 29"/>
                <a:gd name="T17" fmla="*/ 10 h 69"/>
                <a:gd name="T18" fmla="*/ 10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3" y="17"/>
                    <a:pt x="12" y="18"/>
                    <a:pt x="11" y="19"/>
                  </a:cubicBezTo>
                  <a:cubicBezTo>
                    <a:pt x="10" y="19"/>
                    <a:pt x="9" y="20"/>
                    <a:pt x="7" y="20"/>
                  </a:cubicBezTo>
                  <a:cubicBezTo>
                    <a:pt x="6" y="21"/>
                    <a:pt x="5" y="21"/>
                    <a:pt x="4" y="22"/>
                  </a:cubicBezTo>
                  <a:cubicBezTo>
                    <a:pt x="2" y="22"/>
                    <a:pt x="1" y="22"/>
                    <a:pt x="0" y="22"/>
                  </a:cubicBezTo>
                  <a:cubicBezTo>
                    <a:pt x="0" y="10"/>
                    <a:pt x="0" y="10"/>
                    <a:pt x="0" y="10"/>
                  </a:cubicBezTo>
                  <a:cubicBezTo>
                    <a:pt x="3" y="9"/>
                    <a:pt x="7" y="7"/>
                    <a:pt x="10"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64" name="Freeform 34"/>
            <p:cNvSpPr>
              <a:spLocks noEditPoints="1"/>
            </p:cNvSpPr>
            <p:nvPr/>
          </p:nvSpPr>
          <p:spPr bwMode="auto">
            <a:xfrm>
              <a:off x="1908365" y="-860750"/>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5 h 70"/>
                <a:gd name="T10" fmla="*/ 42 w 49"/>
                <a:gd name="T11" fmla="*/ 61 h 70"/>
                <a:gd name="T12" fmla="*/ 24 w 49"/>
                <a:gd name="T13" fmla="*/ 70 h 70"/>
                <a:gd name="T14" fmla="*/ 25 w 49"/>
                <a:gd name="T15" fmla="*/ 12 h 70"/>
                <a:gd name="T16" fmla="*/ 15 w 49"/>
                <a:gd name="T17" fmla="*/ 36 h 70"/>
                <a:gd name="T18" fmla="*/ 25 w 49"/>
                <a:gd name="T19" fmla="*/ 58 h 70"/>
                <a:gd name="T20" fmla="*/ 34 w 49"/>
                <a:gd name="T21" fmla="*/ 35 h 70"/>
                <a:gd name="T22" fmla="*/ 25 w 49"/>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9"/>
                    <a:pt x="0" y="36"/>
                  </a:cubicBezTo>
                  <a:cubicBezTo>
                    <a:pt x="0" y="24"/>
                    <a:pt x="2" y="16"/>
                    <a:pt x="7" y="9"/>
                  </a:cubicBezTo>
                  <a:cubicBezTo>
                    <a:pt x="11" y="3"/>
                    <a:pt x="17" y="0"/>
                    <a:pt x="25" y="0"/>
                  </a:cubicBezTo>
                  <a:cubicBezTo>
                    <a:pt x="41" y="0"/>
                    <a:pt x="49" y="12"/>
                    <a:pt x="49" y="35"/>
                  </a:cubicBezTo>
                  <a:cubicBezTo>
                    <a:pt x="49" y="46"/>
                    <a:pt x="47" y="55"/>
                    <a:pt x="42" y="61"/>
                  </a:cubicBezTo>
                  <a:cubicBezTo>
                    <a:pt x="38" y="67"/>
                    <a:pt x="32" y="70"/>
                    <a:pt x="24" y="70"/>
                  </a:cubicBezTo>
                  <a:close/>
                  <a:moveTo>
                    <a:pt x="25" y="12"/>
                  </a:moveTo>
                  <a:cubicBezTo>
                    <a:pt x="18" y="12"/>
                    <a:pt x="15" y="20"/>
                    <a:pt x="15" y="36"/>
                  </a:cubicBezTo>
                  <a:cubicBezTo>
                    <a:pt x="15" y="51"/>
                    <a:pt x="18" y="58"/>
                    <a:pt x="25" y="58"/>
                  </a:cubicBezTo>
                  <a:cubicBezTo>
                    <a:pt x="31" y="58"/>
                    <a:pt x="34" y="51"/>
                    <a:pt x="34" y="35"/>
                  </a:cubicBezTo>
                  <a:cubicBezTo>
                    <a:pt x="34" y="19"/>
                    <a:pt x="31" y="12"/>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65" name="Freeform 35"/>
            <p:cNvSpPr>
              <a:spLocks/>
            </p:cNvSpPr>
            <p:nvPr/>
          </p:nvSpPr>
          <p:spPr bwMode="auto">
            <a:xfrm>
              <a:off x="2144902" y="-860750"/>
              <a:ext cx="109538"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8 w 29"/>
                <a:gd name="T11" fmla="*/ 20 h 69"/>
                <a:gd name="T12" fmla="*/ 4 w 29"/>
                <a:gd name="T13" fmla="*/ 22 h 69"/>
                <a:gd name="T14" fmla="*/ 0 w 29"/>
                <a:gd name="T15" fmla="*/ 22 h 69"/>
                <a:gd name="T16" fmla="*/ 0 w 29"/>
                <a:gd name="T17" fmla="*/ 10 h 69"/>
                <a:gd name="T18" fmla="*/ 11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4" y="17"/>
                    <a:pt x="13" y="18"/>
                    <a:pt x="11" y="19"/>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grpSp>
        <p:nvGrpSpPr>
          <p:cNvPr id="266" name="Group 265"/>
          <p:cNvGrpSpPr/>
          <p:nvPr userDrawn="1"/>
        </p:nvGrpSpPr>
        <p:grpSpPr>
          <a:xfrm>
            <a:off x="9701827" y="3355164"/>
            <a:ext cx="1188591" cy="613641"/>
            <a:chOff x="7245576" y="-1091036"/>
            <a:chExt cx="1165226" cy="601663"/>
          </a:xfrm>
          <a:solidFill>
            <a:schemeClr val="bg1">
              <a:lumMod val="85000"/>
            </a:schemeClr>
          </a:solidFill>
        </p:grpSpPr>
        <p:sp>
          <p:nvSpPr>
            <p:cNvPr id="267" name="Freeform 39"/>
            <p:cNvSpPr>
              <a:spLocks/>
            </p:cNvSpPr>
            <p:nvPr/>
          </p:nvSpPr>
          <p:spPr bwMode="auto">
            <a:xfrm>
              <a:off x="7245576" y="-967211"/>
              <a:ext cx="328613" cy="369888"/>
            </a:xfrm>
            <a:custGeom>
              <a:avLst/>
              <a:gdLst>
                <a:gd name="T0" fmla="*/ 207 w 207"/>
                <a:gd name="T1" fmla="*/ 233 h 233"/>
                <a:gd name="T2" fmla="*/ 0 w 207"/>
                <a:gd name="T3" fmla="*/ 137 h 233"/>
                <a:gd name="T4" fmla="*/ 0 w 207"/>
                <a:gd name="T5" fmla="*/ 98 h 233"/>
                <a:gd name="T6" fmla="*/ 207 w 207"/>
                <a:gd name="T7" fmla="*/ 0 h 233"/>
                <a:gd name="T8" fmla="*/ 207 w 207"/>
                <a:gd name="T9" fmla="*/ 53 h 233"/>
                <a:gd name="T10" fmla="*/ 59 w 207"/>
                <a:gd name="T11" fmla="*/ 118 h 233"/>
                <a:gd name="T12" fmla="*/ 59 w 207"/>
                <a:gd name="T13" fmla="*/ 118 h 233"/>
                <a:gd name="T14" fmla="*/ 207 w 207"/>
                <a:gd name="T15" fmla="*/ 178 h 233"/>
                <a:gd name="T16" fmla="*/ 207 w 207"/>
                <a:gd name="T17"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233">
                  <a:moveTo>
                    <a:pt x="207" y="233"/>
                  </a:moveTo>
                  <a:lnTo>
                    <a:pt x="0" y="137"/>
                  </a:lnTo>
                  <a:lnTo>
                    <a:pt x="0" y="98"/>
                  </a:lnTo>
                  <a:lnTo>
                    <a:pt x="207" y="0"/>
                  </a:lnTo>
                  <a:lnTo>
                    <a:pt x="207" y="53"/>
                  </a:lnTo>
                  <a:lnTo>
                    <a:pt x="59" y="118"/>
                  </a:lnTo>
                  <a:lnTo>
                    <a:pt x="59" y="118"/>
                  </a:lnTo>
                  <a:lnTo>
                    <a:pt x="207" y="178"/>
                  </a:lnTo>
                  <a:lnTo>
                    <a:pt x="207" y="23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68" name="Freeform 40"/>
            <p:cNvSpPr>
              <a:spLocks/>
            </p:cNvSpPr>
            <p:nvPr/>
          </p:nvSpPr>
          <p:spPr bwMode="auto">
            <a:xfrm>
              <a:off x="7650389" y="-1091036"/>
              <a:ext cx="347663" cy="601663"/>
            </a:xfrm>
            <a:custGeom>
              <a:avLst/>
              <a:gdLst>
                <a:gd name="T0" fmla="*/ 219 w 219"/>
                <a:gd name="T1" fmla="*/ 0 h 379"/>
                <a:gd name="T2" fmla="*/ 62 w 219"/>
                <a:gd name="T3" fmla="*/ 379 h 379"/>
                <a:gd name="T4" fmla="*/ 0 w 219"/>
                <a:gd name="T5" fmla="*/ 379 h 379"/>
                <a:gd name="T6" fmla="*/ 155 w 219"/>
                <a:gd name="T7" fmla="*/ 0 h 379"/>
                <a:gd name="T8" fmla="*/ 219 w 219"/>
                <a:gd name="T9" fmla="*/ 0 h 379"/>
              </a:gdLst>
              <a:ahLst/>
              <a:cxnLst>
                <a:cxn ang="0">
                  <a:pos x="T0" y="T1"/>
                </a:cxn>
                <a:cxn ang="0">
                  <a:pos x="T2" y="T3"/>
                </a:cxn>
                <a:cxn ang="0">
                  <a:pos x="T4" y="T5"/>
                </a:cxn>
                <a:cxn ang="0">
                  <a:pos x="T6" y="T7"/>
                </a:cxn>
                <a:cxn ang="0">
                  <a:pos x="T8" y="T9"/>
                </a:cxn>
              </a:cxnLst>
              <a:rect l="0" t="0" r="r" b="b"/>
              <a:pathLst>
                <a:path w="219" h="379">
                  <a:moveTo>
                    <a:pt x="219" y="0"/>
                  </a:moveTo>
                  <a:lnTo>
                    <a:pt x="62" y="379"/>
                  </a:lnTo>
                  <a:lnTo>
                    <a:pt x="0" y="379"/>
                  </a:lnTo>
                  <a:lnTo>
                    <a:pt x="155" y="0"/>
                  </a:lnTo>
                  <a:lnTo>
                    <a:pt x="219"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69" name="Freeform 41"/>
            <p:cNvSpPr>
              <a:spLocks/>
            </p:cNvSpPr>
            <p:nvPr/>
          </p:nvSpPr>
          <p:spPr bwMode="auto">
            <a:xfrm>
              <a:off x="8082189" y="-971973"/>
              <a:ext cx="328613" cy="368300"/>
            </a:xfrm>
            <a:custGeom>
              <a:avLst/>
              <a:gdLst>
                <a:gd name="T0" fmla="*/ 207 w 207"/>
                <a:gd name="T1" fmla="*/ 135 h 232"/>
                <a:gd name="T2" fmla="*/ 0 w 207"/>
                <a:gd name="T3" fmla="*/ 232 h 232"/>
                <a:gd name="T4" fmla="*/ 0 w 207"/>
                <a:gd name="T5" fmla="*/ 179 h 232"/>
                <a:gd name="T6" fmla="*/ 148 w 207"/>
                <a:gd name="T7" fmla="*/ 118 h 232"/>
                <a:gd name="T8" fmla="*/ 148 w 207"/>
                <a:gd name="T9" fmla="*/ 118 h 232"/>
                <a:gd name="T10" fmla="*/ 0 w 207"/>
                <a:gd name="T11" fmla="*/ 53 h 232"/>
                <a:gd name="T12" fmla="*/ 0 w 207"/>
                <a:gd name="T13" fmla="*/ 0 h 232"/>
                <a:gd name="T14" fmla="*/ 207 w 207"/>
                <a:gd name="T15" fmla="*/ 99 h 232"/>
                <a:gd name="T16" fmla="*/ 207 w 207"/>
                <a:gd name="T17"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232">
                  <a:moveTo>
                    <a:pt x="207" y="135"/>
                  </a:moveTo>
                  <a:lnTo>
                    <a:pt x="0" y="232"/>
                  </a:lnTo>
                  <a:lnTo>
                    <a:pt x="0" y="179"/>
                  </a:lnTo>
                  <a:lnTo>
                    <a:pt x="148" y="118"/>
                  </a:lnTo>
                  <a:lnTo>
                    <a:pt x="148" y="118"/>
                  </a:lnTo>
                  <a:lnTo>
                    <a:pt x="0" y="53"/>
                  </a:lnTo>
                  <a:lnTo>
                    <a:pt x="0" y="0"/>
                  </a:lnTo>
                  <a:lnTo>
                    <a:pt x="207" y="99"/>
                  </a:lnTo>
                  <a:lnTo>
                    <a:pt x="207" y="135"/>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grpSp>
        <p:nvGrpSpPr>
          <p:cNvPr id="270" name="Group 269"/>
          <p:cNvGrpSpPr/>
          <p:nvPr userDrawn="1"/>
        </p:nvGrpSpPr>
        <p:grpSpPr>
          <a:xfrm>
            <a:off x="-55374" y="5062220"/>
            <a:ext cx="814525" cy="952033"/>
            <a:chOff x="1490852" y="-1529087"/>
            <a:chExt cx="798513" cy="933450"/>
          </a:xfrm>
          <a:solidFill>
            <a:schemeClr val="bg1">
              <a:lumMod val="85000"/>
            </a:schemeClr>
          </a:solidFill>
        </p:grpSpPr>
        <p:sp>
          <p:nvSpPr>
            <p:cNvPr id="271" name="Freeform 24"/>
            <p:cNvSpPr>
              <a:spLocks noEditPoints="1"/>
            </p:cNvSpPr>
            <p:nvPr/>
          </p:nvSpPr>
          <p:spPr bwMode="auto">
            <a:xfrm>
              <a:off x="1490852" y="-1529087"/>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0 h 70"/>
                <a:gd name="T12" fmla="*/ 24 w 48"/>
                <a:gd name="T13" fmla="*/ 70 h 70"/>
                <a:gd name="T14" fmla="*/ 24 w 48"/>
                <a:gd name="T15" fmla="*/ 11 h 70"/>
                <a:gd name="T16" fmla="*/ 15 w 48"/>
                <a:gd name="T17" fmla="*/ 35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1"/>
                    <a:pt x="48" y="34"/>
                  </a:cubicBezTo>
                  <a:cubicBezTo>
                    <a:pt x="48" y="46"/>
                    <a:pt x="46" y="54"/>
                    <a:pt x="42" y="60"/>
                  </a:cubicBezTo>
                  <a:cubicBezTo>
                    <a:pt x="38" y="66"/>
                    <a:pt x="32" y="70"/>
                    <a:pt x="24" y="70"/>
                  </a:cubicBezTo>
                  <a:close/>
                  <a:moveTo>
                    <a:pt x="24" y="11"/>
                  </a:moveTo>
                  <a:cubicBezTo>
                    <a:pt x="18" y="11"/>
                    <a:pt x="15" y="19"/>
                    <a:pt x="15" y="35"/>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72" name="Freeform 25"/>
            <p:cNvSpPr>
              <a:spLocks/>
            </p:cNvSpPr>
            <p:nvPr/>
          </p:nvSpPr>
          <p:spPr bwMode="auto">
            <a:xfrm>
              <a:off x="1725802" y="-1529087"/>
              <a:ext cx="111125"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7 w 29"/>
                <a:gd name="T11" fmla="*/ 20 h 68"/>
                <a:gd name="T12" fmla="*/ 4 w 29"/>
                <a:gd name="T13" fmla="*/ 21 h 68"/>
                <a:gd name="T14" fmla="*/ 0 w 29"/>
                <a:gd name="T15" fmla="*/ 22 h 68"/>
                <a:gd name="T16" fmla="*/ 0 w 29"/>
                <a:gd name="T17" fmla="*/ 10 h 68"/>
                <a:gd name="T18" fmla="*/ 10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7" y="20"/>
                  </a:cubicBezTo>
                  <a:cubicBezTo>
                    <a:pt x="6" y="21"/>
                    <a:pt x="5" y="21"/>
                    <a:pt x="4" y="21"/>
                  </a:cubicBezTo>
                  <a:cubicBezTo>
                    <a:pt x="2" y="22"/>
                    <a:pt x="1" y="22"/>
                    <a:pt x="0" y="22"/>
                  </a:cubicBezTo>
                  <a:cubicBezTo>
                    <a:pt x="0" y="10"/>
                    <a:pt x="0" y="10"/>
                    <a:pt x="0" y="10"/>
                  </a:cubicBezTo>
                  <a:cubicBezTo>
                    <a:pt x="3" y="9"/>
                    <a:pt x="7" y="7"/>
                    <a:pt x="10"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73" name="Freeform 26"/>
            <p:cNvSpPr>
              <a:spLocks noEditPoints="1"/>
            </p:cNvSpPr>
            <p:nvPr/>
          </p:nvSpPr>
          <p:spPr bwMode="auto">
            <a:xfrm>
              <a:off x="1908365" y="-1529087"/>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4 h 70"/>
                <a:gd name="T10" fmla="*/ 42 w 49"/>
                <a:gd name="T11" fmla="*/ 60 h 70"/>
                <a:gd name="T12" fmla="*/ 24 w 49"/>
                <a:gd name="T13" fmla="*/ 70 h 70"/>
                <a:gd name="T14" fmla="*/ 25 w 49"/>
                <a:gd name="T15" fmla="*/ 11 h 70"/>
                <a:gd name="T16" fmla="*/ 15 w 49"/>
                <a:gd name="T17" fmla="*/ 35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5" y="0"/>
                  </a:cubicBezTo>
                  <a:cubicBezTo>
                    <a:pt x="41" y="0"/>
                    <a:pt x="49" y="11"/>
                    <a:pt x="49" y="34"/>
                  </a:cubicBezTo>
                  <a:cubicBezTo>
                    <a:pt x="49" y="46"/>
                    <a:pt x="47" y="54"/>
                    <a:pt x="42" y="60"/>
                  </a:cubicBezTo>
                  <a:cubicBezTo>
                    <a:pt x="38" y="66"/>
                    <a:pt x="32" y="70"/>
                    <a:pt x="24" y="70"/>
                  </a:cubicBezTo>
                  <a:close/>
                  <a:moveTo>
                    <a:pt x="25" y="11"/>
                  </a:moveTo>
                  <a:cubicBezTo>
                    <a:pt x="18" y="11"/>
                    <a:pt x="15" y="19"/>
                    <a:pt x="15" y="35"/>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74" name="Freeform 27"/>
            <p:cNvSpPr>
              <a:spLocks/>
            </p:cNvSpPr>
            <p:nvPr/>
          </p:nvSpPr>
          <p:spPr bwMode="auto">
            <a:xfrm>
              <a:off x="2144902" y="-1529087"/>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1 h 68"/>
                <a:gd name="T14" fmla="*/ 0 w 29"/>
                <a:gd name="T15" fmla="*/ 22 h 68"/>
                <a:gd name="T16" fmla="*/ 0 w 29"/>
                <a:gd name="T17" fmla="*/ 10 h 68"/>
                <a:gd name="T18" fmla="*/ 11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1" y="18"/>
                  </a:cubicBezTo>
                  <a:cubicBezTo>
                    <a:pt x="10" y="19"/>
                    <a:pt x="9" y="20"/>
                    <a:pt x="8" y="20"/>
                  </a:cubicBezTo>
                  <a:cubicBezTo>
                    <a:pt x="7" y="21"/>
                    <a:pt x="5" y="21"/>
                    <a:pt x="4" y="21"/>
                  </a:cubicBezTo>
                  <a:cubicBezTo>
                    <a:pt x="3" y="22"/>
                    <a:pt x="1" y="22"/>
                    <a:pt x="0" y="22"/>
                  </a:cubicBezTo>
                  <a:cubicBezTo>
                    <a:pt x="0" y="10"/>
                    <a:pt x="0" y="10"/>
                    <a:pt x="0" y="10"/>
                  </a:cubicBezTo>
                  <a:cubicBezTo>
                    <a:pt x="4" y="9"/>
                    <a:pt x="8" y="7"/>
                    <a:pt x="11"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75" name="Freeform 28"/>
            <p:cNvSpPr>
              <a:spLocks/>
            </p:cNvSpPr>
            <p:nvPr/>
          </p:nvSpPr>
          <p:spPr bwMode="auto">
            <a:xfrm>
              <a:off x="1501965" y="-1195712"/>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8" y="20"/>
                  </a:cubicBezTo>
                  <a:cubicBezTo>
                    <a:pt x="6" y="21"/>
                    <a:pt x="5" y="21"/>
                    <a:pt x="4" y="22"/>
                  </a:cubicBezTo>
                  <a:cubicBezTo>
                    <a:pt x="2" y="22"/>
                    <a:pt x="1" y="22"/>
                    <a:pt x="0" y="22"/>
                  </a:cubicBezTo>
                  <a:cubicBezTo>
                    <a:pt x="0" y="10"/>
                    <a:pt x="0" y="10"/>
                    <a:pt x="0" y="10"/>
                  </a:cubicBezTo>
                  <a:cubicBezTo>
                    <a:pt x="4" y="9"/>
                    <a:pt x="7"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76" name="Freeform 29"/>
            <p:cNvSpPr>
              <a:spLocks noEditPoints="1"/>
            </p:cNvSpPr>
            <p:nvPr/>
          </p:nvSpPr>
          <p:spPr bwMode="auto">
            <a:xfrm>
              <a:off x="1684527" y="-1195712"/>
              <a:ext cx="185738" cy="266700"/>
            </a:xfrm>
            <a:custGeom>
              <a:avLst/>
              <a:gdLst>
                <a:gd name="T0" fmla="*/ 24 w 49"/>
                <a:gd name="T1" fmla="*/ 70 h 70"/>
                <a:gd name="T2" fmla="*/ 0 w 49"/>
                <a:gd name="T3" fmla="*/ 36 h 70"/>
                <a:gd name="T4" fmla="*/ 7 w 49"/>
                <a:gd name="T5" fmla="*/ 9 h 70"/>
                <a:gd name="T6" fmla="*/ 26 w 49"/>
                <a:gd name="T7" fmla="*/ 0 h 70"/>
                <a:gd name="T8" fmla="*/ 49 w 49"/>
                <a:gd name="T9" fmla="*/ 34 h 70"/>
                <a:gd name="T10" fmla="*/ 43 w 49"/>
                <a:gd name="T11" fmla="*/ 61 h 70"/>
                <a:gd name="T12" fmla="*/ 24 w 49"/>
                <a:gd name="T13" fmla="*/ 70 h 70"/>
                <a:gd name="T14" fmla="*/ 25 w 49"/>
                <a:gd name="T15" fmla="*/ 11 h 70"/>
                <a:gd name="T16" fmla="*/ 15 w 49"/>
                <a:gd name="T17" fmla="*/ 36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6" y="0"/>
                  </a:cubicBezTo>
                  <a:cubicBezTo>
                    <a:pt x="41" y="0"/>
                    <a:pt x="49" y="12"/>
                    <a:pt x="49" y="34"/>
                  </a:cubicBezTo>
                  <a:cubicBezTo>
                    <a:pt x="49" y="46"/>
                    <a:pt x="47" y="54"/>
                    <a:pt x="43" y="61"/>
                  </a:cubicBezTo>
                  <a:cubicBezTo>
                    <a:pt x="38" y="67"/>
                    <a:pt x="32" y="70"/>
                    <a:pt x="24" y="70"/>
                  </a:cubicBezTo>
                  <a:close/>
                  <a:moveTo>
                    <a:pt x="25" y="11"/>
                  </a:moveTo>
                  <a:cubicBezTo>
                    <a:pt x="18" y="11"/>
                    <a:pt x="15" y="19"/>
                    <a:pt x="15" y="36"/>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77" name="Freeform 30"/>
            <p:cNvSpPr>
              <a:spLocks/>
            </p:cNvSpPr>
            <p:nvPr/>
          </p:nvSpPr>
          <p:spPr bwMode="auto">
            <a:xfrm>
              <a:off x="1919477" y="-1195712"/>
              <a:ext cx="111125" cy="258763"/>
            </a:xfrm>
            <a:custGeom>
              <a:avLst/>
              <a:gdLst>
                <a:gd name="T0" fmla="*/ 29 w 29"/>
                <a:gd name="T1" fmla="*/ 0 h 68"/>
                <a:gd name="T2" fmla="*/ 29 w 29"/>
                <a:gd name="T3" fmla="*/ 68 h 68"/>
                <a:gd name="T4" fmla="*/ 14 w 29"/>
                <a:gd name="T5" fmla="*/ 68 h 68"/>
                <a:gd name="T6" fmla="*/ 14 w 29"/>
                <a:gd name="T7" fmla="*/ 16 h 68"/>
                <a:gd name="T8" fmla="*/ 12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2" y="18"/>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8"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78" name="Freeform 31"/>
            <p:cNvSpPr>
              <a:spLocks noEditPoints="1"/>
            </p:cNvSpPr>
            <p:nvPr/>
          </p:nvSpPr>
          <p:spPr bwMode="auto">
            <a:xfrm>
              <a:off x="2106802" y="-1195712"/>
              <a:ext cx="182563" cy="266700"/>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1 h 70"/>
                <a:gd name="T12" fmla="*/ 24 w 48"/>
                <a:gd name="T13" fmla="*/ 70 h 70"/>
                <a:gd name="T14" fmla="*/ 24 w 48"/>
                <a:gd name="T15" fmla="*/ 11 h 70"/>
                <a:gd name="T16" fmla="*/ 15 w 48"/>
                <a:gd name="T17" fmla="*/ 36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2"/>
                    <a:pt x="48" y="34"/>
                  </a:cubicBezTo>
                  <a:cubicBezTo>
                    <a:pt x="48" y="46"/>
                    <a:pt x="46" y="54"/>
                    <a:pt x="42" y="61"/>
                  </a:cubicBezTo>
                  <a:cubicBezTo>
                    <a:pt x="38" y="67"/>
                    <a:pt x="32" y="70"/>
                    <a:pt x="24" y="70"/>
                  </a:cubicBezTo>
                  <a:close/>
                  <a:moveTo>
                    <a:pt x="24" y="11"/>
                  </a:moveTo>
                  <a:cubicBezTo>
                    <a:pt x="18" y="11"/>
                    <a:pt x="15" y="19"/>
                    <a:pt x="15" y="36"/>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79" name="Freeform 32"/>
            <p:cNvSpPr>
              <a:spLocks noEditPoints="1"/>
            </p:cNvSpPr>
            <p:nvPr/>
          </p:nvSpPr>
          <p:spPr bwMode="auto">
            <a:xfrm>
              <a:off x="1490852" y="-860750"/>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5 h 70"/>
                <a:gd name="T10" fmla="*/ 42 w 48"/>
                <a:gd name="T11" fmla="*/ 61 h 70"/>
                <a:gd name="T12" fmla="*/ 24 w 48"/>
                <a:gd name="T13" fmla="*/ 70 h 70"/>
                <a:gd name="T14" fmla="*/ 24 w 48"/>
                <a:gd name="T15" fmla="*/ 12 h 70"/>
                <a:gd name="T16" fmla="*/ 15 w 48"/>
                <a:gd name="T17" fmla="*/ 36 h 70"/>
                <a:gd name="T18" fmla="*/ 24 w 48"/>
                <a:gd name="T19" fmla="*/ 58 h 70"/>
                <a:gd name="T20" fmla="*/ 33 w 48"/>
                <a:gd name="T21" fmla="*/ 35 h 70"/>
                <a:gd name="T22" fmla="*/ 24 w 48"/>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9"/>
                    <a:pt x="0" y="36"/>
                  </a:cubicBezTo>
                  <a:cubicBezTo>
                    <a:pt x="0" y="24"/>
                    <a:pt x="2" y="16"/>
                    <a:pt x="6" y="9"/>
                  </a:cubicBezTo>
                  <a:cubicBezTo>
                    <a:pt x="10" y="3"/>
                    <a:pt x="17" y="0"/>
                    <a:pt x="25" y="0"/>
                  </a:cubicBezTo>
                  <a:cubicBezTo>
                    <a:pt x="41" y="0"/>
                    <a:pt x="48" y="12"/>
                    <a:pt x="48" y="35"/>
                  </a:cubicBezTo>
                  <a:cubicBezTo>
                    <a:pt x="48" y="46"/>
                    <a:pt x="46" y="55"/>
                    <a:pt x="42" y="61"/>
                  </a:cubicBezTo>
                  <a:cubicBezTo>
                    <a:pt x="38" y="67"/>
                    <a:pt x="32" y="70"/>
                    <a:pt x="24" y="70"/>
                  </a:cubicBezTo>
                  <a:close/>
                  <a:moveTo>
                    <a:pt x="24" y="12"/>
                  </a:moveTo>
                  <a:cubicBezTo>
                    <a:pt x="18" y="12"/>
                    <a:pt x="15" y="20"/>
                    <a:pt x="15" y="36"/>
                  </a:cubicBezTo>
                  <a:cubicBezTo>
                    <a:pt x="15" y="51"/>
                    <a:pt x="18" y="58"/>
                    <a:pt x="24" y="58"/>
                  </a:cubicBezTo>
                  <a:cubicBezTo>
                    <a:pt x="30" y="58"/>
                    <a:pt x="33" y="51"/>
                    <a:pt x="33" y="35"/>
                  </a:cubicBezTo>
                  <a:cubicBezTo>
                    <a:pt x="33" y="19"/>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80" name="Freeform 33"/>
            <p:cNvSpPr>
              <a:spLocks/>
            </p:cNvSpPr>
            <p:nvPr/>
          </p:nvSpPr>
          <p:spPr bwMode="auto">
            <a:xfrm>
              <a:off x="1725802" y="-860750"/>
              <a:ext cx="111125"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7 w 29"/>
                <a:gd name="T11" fmla="*/ 20 h 69"/>
                <a:gd name="T12" fmla="*/ 4 w 29"/>
                <a:gd name="T13" fmla="*/ 22 h 69"/>
                <a:gd name="T14" fmla="*/ 0 w 29"/>
                <a:gd name="T15" fmla="*/ 22 h 69"/>
                <a:gd name="T16" fmla="*/ 0 w 29"/>
                <a:gd name="T17" fmla="*/ 10 h 69"/>
                <a:gd name="T18" fmla="*/ 10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3" y="17"/>
                    <a:pt x="12" y="18"/>
                    <a:pt x="11" y="19"/>
                  </a:cubicBezTo>
                  <a:cubicBezTo>
                    <a:pt x="10" y="19"/>
                    <a:pt x="9" y="20"/>
                    <a:pt x="7" y="20"/>
                  </a:cubicBezTo>
                  <a:cubicBezTo>
                    <a:pt x="6" y="21"/>
                    <a:pt x="5" y="21"/>
                    <a:pt x="4" y="22"/>
                  </a:cubicBezTo>
                  <a:cubicBezTo>
                    <a:pt x="2" y="22"/>
                    <a:pt x="1" y="22"/>
                    <a:pt x="0" y="22"/>
                  </a:cubicBezTo>
                  <a:cubicBezTo>
                    <a:pt x="0" y="10"/>
                    <a:pt x="0" y="10"/>
                    <a:pt x="0" y="10"/>
                  </a:cubicBezTo>
                  <a:cubicBezTo>
                    <a:pt x="3" y="9"/>
                    <a:pt x="7" y="7"/>
                    <a:pt x="10"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81" name="Freeform 34"/>
            <p:cNvSpPr>
              <a:spLocks noEditPoints="1"/>
            </p:cNvSpPr>
            <p:nvPr/>
          </p:nvSpPr>
          <p:spPr bwMode="auto">
            <a:xfrm>
              <a:off x="1908365" y="-860750"/>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5 h 70"/>
                <a:gd name="T10" fmla="*/ 42 w 49"/>
                <a:gd name="T11" fmla="*/ 61 h 70"/>
                <a:gd name="T12" fmla="*/ 24 w 49"/>
                <a:gd name="T13" fmla="*/ 70 h 70"/>
                <a:gd name="T14" fmla="*/ 25 w 49"/>
                <a:gd name="T15" fmla="*/ 12 h 70"/>
                <a:gd name="T16" fmla="*/ 15 w 49"/>
                <a:gd name="T17" fmla="*/ 36 h 70"/>
                <a:gd name="T18" fmla="*/ 25 w 49"/>
                <a:gd name="T19" fmla="*/ 58 h 70"/>
                <a:gd name="T20" fmla="*/ 34 w 49"/>
                <a:gd name="T21" fmla="*/ 35 h 70"/>
                <a:gd name="T22" fmla="*/ 25 w 49"/>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9"/>
                    <a:pt x="0" y="36"/>
                  </a:cubicBezTo>
                  <a:cubicBezTo>
                    <a:pt x="0" y="24"/>
                    <a:pt x="2" y="16"/>
                    <a:pt x="7" y="9"/>
                  </a:cubicBezTo>
                  <a:cubicBezTo>
                    <a:pt x="11" y="3"/>
                    <a:pt x="17" y="0"/>
                    <a:pt x="25" y="0"/>
                  </a:cubicBezTo>
                  <a:cubicBezTo>
                    <a:pt x="41" y="0"/>
                    <a:pt x="49" y="12"/>
                    <a:pt x="49" y="35"/>
                  </a:cubicBezTo>
                  <a:cubicBezTo>
                    <a:pt x="49" y="46"/>
                    <a:pt x="47" y="55"/>
                    <a:pt x="42" y="61"/>
                  </a:cubicBezTo>
                  <a:cubicBezTo>
                    <a:pt x="38" y="67"/>
                    <a:pt x="32" y="70"/>
                    <a:pt x="24" y="70"/>
                  </a:cubicBezTo>
                  <a:close/>
                  <a:moveTo>
                    <a:pt x="25" y="12"/>
                  </a:moveTo>
                  <a:cubicBezTo>
                    <a:pt x="18" y="12"/>
                    <a:pt x="15" y="20"/>
                    <a:pt x="15" y="36"/>
                  </a:cubicBezTo>
                  <a:cubicBezTo>
                    <a:pt x="15" y="51"/>
                    <a:pt x="18" y="58"/>
                    <a:pt x="25" y="58"/>
                  </a:cubicBezTo>
                  <a:cubicBezTo>
                    <a:pt x="31" y="58"/>
                    <a:pt x="34" y="51"/>
                    <a:pt x="34" y="35"/>
                  </a:cubicBezTo>
                  <a:cubicBezTo>
                    <a:pt x="34" y="19"/>
                    <a:pt x="31" y="12"/>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82" name="Freeform 35"/>
            <p:cNvSpPr>
              <a:spLocks/>
            </p:cNvSpPr>
            <p:nvPr/>
          </p:nvSpPr>
          <p:spPr bwMode="auto">
            <a:xfrm>
              <a:off x="2144902" y="-860750"/>
              <a:ext cx="109538"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8 w 29"/>
                <a:gd name="T11" fmla="*/ 20 h 69"/>
                <a:gd name="T12" fmla="*/ 4 w 29"/>
                <a:gd name="T13" fmla="*/ 22 h 69"/>
                <a:gd name="T14" fmla="*/ 0 w 29"/>
                <a:gd name="T15" fmla="*/ 22 h 69"/>
                <a:gd name="T16" fmla="*/ 0 w 29"/>
                <a:gd name="T17" fmla="*/ 10 h 69"/>
                <a:gd name="T18" fmla="*/ 11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4" y="17"/>
                    <a:pt x="13" y="18"/>
                    <a:pt x="11" y="19"/>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grpSp>
        <p:nvGrpSpPr>
          <p:cNvPr id="283" name="Group 282"/>
          <p:cNvGrpSpPr/>
          <p:nvPr userDrawn="1"/>
        </p:nvGrpSpPr>
        <p:grpSpPr>
          <a:xfrm>
            <a:off x="2054463" y="2254278"/>
            <a:ext cx="624745" cy="601283"/>
            <a:chOff x="3820368" y="7357289"/>
            <a:chExt cx="231250" cy="222597"/>
          </a:xfrm>
          <a:solidFill>
            <a:schemeClr val="bg1">
              <a:lumMod val="85000"/>
            </a:schemeClr>
          </a:solidFill>
        </p:grpSpPr>
        <p:sp>
          <p:nvSpPr>
            <p:cNvPr id="284" name="Rectangle 283"/>
            <p:cNvSpPr/>
            <p:nvPr/>
          </p:nvSpPr>
          <p:spPr bwMode="auto">
            <a:xfrm>
              <a:off x="3820368" y="7409706"/>
              <a:ext cx="65321" cy="17018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5" name="Rectangle 284"/>
            <p:cNvSpPr/>
            <p:nvPr/>
          </p:nvSpPr>
          <p:spPr bwMode="auto">
            <a:xfrm>
              <a:off x="3903333" y="7357289"/>
              <a:ext cx="65321" cy="2225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86" name="Rectangle 285"/>
            <p:cNvSpPr/>
            <p:nvPr/>
          </p:nvSpPr>
          <p:spPr bwMode="auto">
            <a:xfrm>
              <a:off x="3986297" y="7469723"/>
              <a:ext cx="65321" cy="11016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87" name="Group 286"/>
          <p:cNvGrpSpPr/>
          <p:nvPr userDrawn="1"/>
        </p:nvGrpSpPr>
        <p:grpSpPr>
          <a:xfrm>
            <a:off x="12355127" y="4467771"/>
            <a:ext cx="814525" cy="952033"/>
            <a:chOff x="1490852" y="-1529087"/>
            <a:chExt cx="798513" cy="933450"/>
          </a:xfrm>
          <a:solidFill>
            <a:schemeClr val="bg1">
              <a:lumMod val="85000"/>
            </a:schemeClr>
          </a:solidFill>
        </p:grpSpPr>
        <p:sp>
          <p:nvSpPr>
            <p:cNvPr id="288" name="Freeform 24"/>
            <p:cNvSpPr>
              <a:spLocks noEditPoints="1"/>
            </p:cNvSpPr>
            <p:nvPr/>
          </p:nvSpPr>
          <p:spPr bwMode="auto">
            <a:xfrm>
              <a:off x="1490852" y="-1529087"/>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0 h 70"/>
                <a:gd name="T12" fmla="*/ 24 w 48"/>
                <a:gd name="T13" fmla="*/ 70 h 70"/>
                <a:gd name="T14" fmla="*/ 24 w 48"/>
                <a:gd name="T15" fmla="*/ 11 h 70"/>
                <a:gd name="T16" fmla="*/ 15 w 48"/>
                <a:gd name="T17" fmla="*/ 35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1"/>
                    <a:pt x="48" y="34"/>
                  </a:cubicBezTo>
                  <a:cubicBezTo>
                    <a:pt x="48" y="46"/>
                    <a:pt x="46" y="54"/>
                    <a:pt x="42" y="60"/>
                  </a:cubicBezTo>
                  <a:cubicBezTo>
                    <a:pt x="38" y="66"/>
                    <a:pt x="32" y="70"/>
                    <a:pt x="24" y="70"/>
                  </a:cubicBezTo>
                  <a:close/>
                  <a:moveTo>
                    <a:pt x="24" y="11"/>
                  </a:moveTo>
                  <a:cubicBezTo>
                    <a:pt x="18" y="11"/>
                    <a:pt x="15" y="19"/>
                    <a:pt x="15" y="35"/>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89" name="Freeform 25"/>
            <p:cNvSpPr>
              <a:spLocks/>
            </p:cNvSpPr>
            <p:nvPr/>
          </p:nvSpPr>
          <p:spPr bwMode="auto">
            <a:xfrm>
              <a:off x="1725802" y="-1529087"/>
              <a:ext cx="111125"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7 w 29"/>
                <a:gd name="T11" fmla="*/ 20 h 68"/>
                <a:gd name="T12" fmla="*/ 4 w 29"/>
                <a:gd name="T13" fmla="*/ 21 h 68"/>
                <a:gd name="T14" fmla="*/ 0 w 29"/>
                <a:gd name="T15" fmla="*/ 22 h 68"/>
                <a:gd name="T16" fmla="*/ 0 w 29"/>
                <a:gd name="T17" fmla="*/ 10 h 68"/>
                <a:gd name="T18" fmla="*/ 10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7" y="20"/>
                  </a:cubicBezTo>
                  <a:cubicBezTo>
                    <a:pt x="6" y="21"/>
                    <a:pt x="5" y="21"/>
                    <a:pt x="4" y="21"/>
                  </a:cubicBezTo>
                  <a:cubicBezTo>
                    <a:pt x="2" y="22"/>
                    <a:pt x="1" y="22"/>
                    <a:pt x="0" y="22"/>
                  </a:cubicBezTo>
                  <a:cubicBezTo>
                    <a:pt x="0" y="10"/>
                    <a:pt x="0" y="10"/>
                    <a:pt x="0" y="10"/>
                  </a:cubicBezTo>
                  <a:cubicBezTo>
                    <a:pt x="3" y="9"/>
                    <a:pt x="7" y="7"/>
                    <a:pt x="10"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0" name="Freeform 26"/>
            <p:cNvSpPr>
              <a:spLocks noEditPoints="1"/>
            </p:cNvSpPr>
            <p:nvPr/>
          </p:nvSpPr>
          <p:spPr bwMode="auto">
            <a:xfrm>
              <a:off x="1908365" y="-1529087"/>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4 h 70"/>
                <a:gd name="T10" fmla="*/ 42 w 49"/>
                <a:gd name="T11" fmla="*/ 60 h 70"/>
                <a:gd name="T12" fmla="*/ 24 w 49"/>
                <a:gd name="T13" fmla="*/ 70 h 70"/>
                <a:gd name="T14" fmla="*/ 25 w 49"/>
                <a:gd name="T15" fmla="*/ 11 h 70"/>
                <a:gd name="T16" fmla="*/ 15 w 49"/>
                <a:gd name="T17" fmla="*/ 35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5" y="0"/>
                  </a:cubicBezTo>
                  <a:cubicBezTo>
                    <a:pt x="41" y="0"/>
                    <a:pt x="49" y="11"/>
                    <a:pt x="49" y="34"/>
                  </a:cubicBezTo>
                  <a:cubicBezTo>
                    <a:pt x="49" y="46"/>
                    <a:pt x="47" y="54"/>
                    <a:pt x="42" y="60"/>
                  </a:cubicBezTo>
                  <a:cubicBezTo>
                    <a:pt x="38" y="66"/>
                    <a:pt x="32" y="70"/>
                    <a:pt x="24" y="70"/>
                  </a:cubicBezTo>
                  <a:close/>
                  <a:moveTo>
                    <a:pt x="25" y="11"/>
                  </a:moveTo>
                  <a:cubicBezTo>
                    <a:pt x="18" y="11"/>
                    <a:pt x="15" y="19"/>
                    <a:pt x="15" y="35"/>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1" name="Freeform 27"/>
            <p:cNvSpPr>
              <a:spLocks/>
            </p:cNvSpPr>
            <p:nvPr/>
          </p:nvSpPr>
          <p:spPr bwMode="auto">
            <a:xfrm>
              <a:off x="2144902" y="-1529087"/>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1 h 68"/>
                <a:gd name="T14" fmla="*/ 0 w 29"/>
                <a:gd name="T15" fmla="*/ 22 h 68"/>
                <a:gd name="T16" fmla="*/ 0 w 29"/>
                <a:gd name="T17" fmla="*/ 10 h 68"/>
                <a:gd name="T18" fmla="*/ 11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1" y="18"/>
                  </a:cubicBezTo>
                  <a:cubicBezTo>
                    <a:pt x="10" y="19"/>
                    <a:pt x="9" y="20"/>
                    <a:pt x="8" y="20"/>
                  </a:cubicBezTo>
                  <a:cubicBezTo>
                    <a:pt x="7" y="21"/>
                    <a:pt x="5" y="21"/>
                    <a:pt x="4" y="21"/>
                  </a:cubicBezTo>
                  <a:cubicBezTo>
                    <a:pt x="3" y="22"/>
                    <a:pt x="1" y="22"/>
                    <a:pt x="0" y="22"/>
                  </a:cubicBezTo>
                  <a:cubicBezTo>
                    <a:pt x="0" y="10"/>
                    <a:pt x="0" y="10"/>
                    <a:pt x="0" y="10"/>
                  </a:cubicBezTo>
                  <a:cubicBezTo>
                    <a:pt x="4" y="9"/>
                    <a:pt x="8" y="7"/>
                    <a:pt x="11"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2" name="Freeform 28"/>
            <p:cNvSpPr>
              <a:spLocks/>
            </p:cNvSpPr>
            <p:nvPr/>
          </p:nvSpPr>
          <p:spPr bwMode="auto">
            <a:xfrm>
              <a:off x="1501965" y="-1195712"/>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8" y="20"/>
                  </a:cubicBezTo>
                  <a:cubicBezTo>
                    <a:pt x="6" y="21"/>
                    <a:pt x="5" y="21"/>
                    <a:pt x="4" y="22"/>
                  </a:cubicBezTo>
                  <a:cubicBezTo>
                    <a:pt x="2" y="22"/>
                    <a:pt x="1" y="22"/>
                    <a:pt x="0" y="22"/>
                  </a:cubicBezTo>
                  <a:cubicBezTo>
                    <a:pt x="0" y="10"/>
                    <a:pt x="0" y="10"/>
                    <a:pt x="0" y="10"/>
                  </a:cubicBezTo>
                  <a:cubicBezTo>
                    <a:pt x="4" y="9"/>
                    <a:pt x="7"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3" name="Freeform 29"/>
            <p:cNvSpPr>
              <a:spLocks noEditPoints="1"/>
            </p:cNvSpPr>
            <p:nvPr/>
          </p:nvSpPr>
          <p:spPr bwMode="auto">
            <a:xfrm>
              <a:off x="1684527" y="-1195712"/>
              <a:ext cx="185738" cy="266700"/>
            </a:xfrm>
            <a:custGeom>
              <a:avLst/>
              <a:gdLst>
                <a:gd name="T0" fmla="*/ 24 w 49"/>
                <a:gd name="T1" fmla="*/ 70 h 70"/>
                <a:gd name="T2" fmla="*/ 0 w 49"/>
                <a:gd name="T3" fmla="*/ 36 h 70"/>
                <a:gd name="T4" fmla="*/ 7 w 49"/>
                <a:gd name="T5" fmla="*/ 9 h 70"/>
                <a:gd name="T6" fmla="*/ 26 w 49"/>
                <a:gd name="T7" fmla="*/ 0 h 70"/>
                <a:gd name="T8" fmla="*/ 49 w 49"/>
                <a:gd name="T9" fmla="*/ 34 h 70"/>
                <a:gd name="T10" fmla="*/ 43 w 49"/>
                <a:gd name="T11" fmla="*/ 61 h 70"/>
                <a:gd name="T12" fmla="*/ 24 w 49"/>
                <a:gd name="T13" fmla="*/ 70 h 70"/>
                <a:gd name="T14" fmla="*/ 25 w 49"/>
                <a:gd name="T15" fmla="*/ 11 h 70"/>
                <a:gd name="T16" fmla="*/ 15 w 49"/>
                <a:gd name="T17" fmla="*/ 36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6" y="0"/>
                  </a:cubicBezTo>
                  <a:cubicBezTo>
                    <a:pt x="41" y="0"/>
                    <a:pt x="49" y="12"/>
                    <a:pt x="49" y="34"/>
                  </a:cubicBezTo>
                  <a:cubicBezTo>
                    <a:pt x="49" y="46"/>
                    <a:pt x="47" y="54"/>
                    <a:pt x="43" y="61"/>
                  </a:cubicBezTo>
                  <a:cubicBezTo>
                    <a:pt x="38" y="67"/>
                    <a:pt x="32" y="70"/>
                    <a:pt x="24" y="70"/>
                  </a:cubicBezTo>
                  <a:close/>
                  <a:moveTo>
                    <a:pt x="25" y="11"/>
                  </a:moveTo>
                  <a:cubicBezTo>
                    <a:pt x="18" y="11"/>
                    <a:pt x="15" y="19"/>
                    <a:pt x="15" y="36"/>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4" name="Freeform 30"/>
            <p:cNvSpPr>
              <a:spLocks/>
            </p:cNvSpPr>
            <p:nvPr/>
          </p:nvSpPr>
          <p:spPr bwMode="auto">
            <a:xfrm>
              <a:off x="1919477" y="-1195712"/>
              <a:ext cx="111125" cy="258763"/>
            </a:xfrm>
            <a:custGeom>
              <a:avLst/>
              <a:gdLst>
                <a:gd name="T0" fmla="*/ 29 w 29"/>
                <a:gd name="T1" fmla="*/ 0 h 68"/>
                <a:gd name="T2" fmla="*/ 29 w 29"/>
                <a:gd name="T3" fmla="*/ 68 h 68"/>
                <a:gd name="T4" fmla="*/ 14 w 29"/>
                <a:gd name="T5" fmla="*/ 68 h 68"/>
                <a:gd name="T6" fmla="*/ 14 w 29"/>
                <a:gd name="T7" fmla="*/ 16 h 68"/>
                <a:gd name="T8" fmla="*/ 12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2" y="18"/>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8"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5" name="Freeform 31"/>
            <p:cNvSpPr>
              <a:spLocks noEditPoints="1"/>
            </p:cNvSpPr>
            <p:nvPr/>
          </p:nvSpPr>
          <p:spPr bwMode="auto">
            <a:xfrm>
              <a:off x="2106802" y="-1195712"/>
              <a:ext cx="182563" cy="266700"/>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1 h 70"/>
                <a:gd name="T12" fmla="*/ 24 w 48"/>
                <a:gd name="T13" fmla="*/ 70 h 70"/>
                <a:gd name="T14" fmla="*/ 24 w 48"/>
                <a:gd name="T15" fmla="*/ 11 h 70"/>
                <a:gd name="T16" fmla="*/ 15 w 48"/>
                <a:gd name="T17" fmla="*/ 36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2"/>
                    <a:pt x="48" y="34"/>
                  </a:cubicBezTo>
                  <a:cubicBezTo>
                    <a:pt x="48" y="46"/>
                    <a:pt x="46" y="54"/>
                    <a:pt x="42" y="61"/>
                  </a:cubicBezTo>
                  <a:cubicBezTo>
                    <a:pt x="38" y="67"/>
                    <a:pt x="32" y="70"/>
                    <a:pt x="24" y="70"/>
                  </a:cubicBezTo>
                  <a:close/>
                  <a:moveTo>
                    <a:pt x="24" y="11"/>
                  </a:moveTo>
                  <a:cubicBezTo>
                    <a:pt x="18" y="11"/>
                    <a:pt x="15" y="19"/>
                    <a:pt x="15" y="36"/>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6" name="Freeform 32"/>
            <p:cNvSpPr>
              <a:spLocks noEditPoints="1"/>
            </p:cNvSpPr>
            <p:nvPr/>
          </p:nvSpPr>
          <p:spPr bwMode="auto">
            <a:xfrm>
              <a:off x="1490852" y="-860750"/>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5 h 70"/>
                <a:gd name="T10" fmla="*/ 42 w 48"/>
                <a:gd name="T11" fmla="*/ 61 h 70"/>
                <a:gd name="T12" fmla="*/ 24 w 48"/>
                <a:gd name="T13" fmla="*/ 70 h 70"/>
                <a:gd name="T14" fmla="*/ 24 w 48"/>
                <a:gd name="T15" fmla="*/ 12 h 70"/>
                <a:gd name="T16" fmla="*/ 15 w 48"/>
                <a:gd name="T17" fmla="*/ 36 h 70"/>
                <a:gd name="T18" fmla="*/ 24 w 48"/>
                <a:gd name="T19" fmla="*/ 58 h 70"/>
                <a:gd name="T20" fmla="*/ 33 w 48"/>
                <a:gd name="T21" fmla="*/ 35 h 70"/>
                <a:gd name="T22" fmla="*/ 24 w 48"/>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9"/>
                    <a:pt x="0" y="36"/>
                  </a:cubicBezTo>
                  <a:cubicBezTo>
                    <a:pt x="0" y="24"/>
                    <a:pt x="2" y="16"/>
                    <a:pt x="6" y="9"/>
                  </a:cubicBezTo>
                  <a:cubicBezTo>
                    <a:pt x="10" y="3"/>
                    <a:pt x="17" y="0"/>
                    <a:pt x="25" y="0"/>
                  </a:cubicBezTo>
                  <a:cubicBezTo>
                    <a:pt x="41" y="0"/>
                    <a:pt x="48" y="12"/>
                    <a:pt x="48" y="35"/>
                  </a:cubicBezTo>
                  <a:cubicBezTo>
                    <a:pt x="48" y="46"/>
                    <a:pt x="46" y="55"/>
                    <a:pt x="42" y="61"/>
                  </a:cubicBezTo>
                  <a:cubicBezTo>
                    <a:pt x="38" y="67"/>
                    <a:pt x="32" y="70"/>
                    <a:pt x="24" y="70"/>
                  </a:cubicBezTo>
                  <a:close/>
                  <a:moveTo>
                    <a:pt x="24" y="12"/>
                  </a:moveTo>
                  <a:cubicBezTo>
                    <a:pt x="18" y="12"/>
                    <a:pt x="15" y="20"/>
                    <a:pt x="15" y="36"/>
                  </a:cubicBezTo>
                  <a:cubicBezTo>
                    <a:pt x="15" y="51"/>
                    <a:pt x="18" y="58"/>
                    <a:pt x="24" y="58"/>
                  </a:cubicBezTo>
                  <a:cubicBezTo>
                    <a:pt x="30" y="58"/>
                    <a:pt x="33" y="51"/>
                    <a:pt x="33" y="35"/>
                  </a:cubicBezTo>
                  <a:cubicBezTo>
                    <a:pt x="33" y="19"/>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7" name="Freeform 33"/>
            <p:cNvSpPr>
              <a:spLocks/>
            </p:cNvSpPr>
            <p:nvPr/>
          </p:nvSpPr>
          <p:spPr bwMode="auto">
            <a:xfrm>
              <a:off x="1725802" y="-860750"/>
              <a:ext cx="111125"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7 w 29"/>
                <a:gd name="T11" fmla="*/ 20 h 69"/>
                <a:gd name="T12" fmla="*/ 4 w 29"/>
                <a:gd name="T13" fmla="*/ 22 h 69"/>
                <a:gd name="T14" fmla="*/ 0 w 29"/>
                <a:gd name="T15" fmla="*/ 22 h 69"/>
                <a:gd name="T16" fmla="*/ 0 w 29"/>
                <a:gd name="T17" fmla="*/ 10 h 69"/>
                <a:gd name="T18" fmla="*/ 10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3" y="17"/>
                    <a:pt x="12" y="18"/>
                    <a:pt x="11" y="19"/>
                  </a:cubicBezTo>
                  <a:cubicBezTo>
                    <a:pt x="10" y="19"/>
                    <a:pt x="9" y="20"/>
                    <a:pt x="7" y="20"/>
                  </a:cubicBezTo>
                  <a:cubicBezTo>
                    <a:pt x="6" y="21"/>
                    <a:pt x="5" y="21"/>
                    <a:pt x="4" y="22"/>
                  </a:cubicBezTo>
                  <a:cubicBezTo>
                    <a:pt x="2" y="22"/>
                    <a:pt x="1" y="22"/>
                    <a:pt x="0" y="22"/>
                  </a:cubicBezTo>
                  <a:cubicBezTo>
                    <a:pt x="0" y="10"/>
                    <a:pt x="0" y="10"/>
                    <a:pt x="0" y="10"/>
                  </a:cubicBezTo>
                  <a:cubicBezTo>
                    <a:pt x="3" y="9"/>
                    <a:pt x="7" y="7"/>
                    <a:pt x="10"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8" name="Freeform 34"/>
            <p:cNvSpPr>
              <a:spLocks noEditPoints="1"/>
            </p:cNvSpPr>
            <p:nvPr/>
          </p:nvSpPr>
          <p:spPr bwMode="auto">
            <a:xfrm>
              <a:off x="1908365" y="-860750"/>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5 h 70"/>
                <a:gd name="T10" fmla="*/ 42 w 49"/>
                <a:gd name="T11" fmla="*/ 61 h 70"/>
                <a:gd name="T12" fmla="*/ 24 w 49"/>
                <a:gd name="T13" fmla="*/ 70 h 70"/>
                <a:gd name="T14" fmla="*/ 25 w 49"/>
                <a:gd name="T15" fmla="*/ 12 h 70"/>
                <a:gd name="T16" fmla="*/ 15 w 49"/>
                <a:gd name="T17" fmla="*/ 36 h 70"/>
                <a:gd name="T18" fmla="*/ 25 w 49"/>
                <a:gd name="T19" fmla="*/ 58 h 70"/>
                <a:gd name="T20" fmla="*/ 34 w 49"/>
                <a:gd name="T21" fmla="*/ 35 h 70"/>
                <a:gd name="T22" fmla="*/ 25 w 49"/>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9"/>
                    <a:pt x="0" y="36"/>
                  </a:cubicBezTo>
                  <a:cubicBezTo>
                    <a:pt x="0" y="24"/>
                    <a:pt x="2" y="16"/>
                    <a:pt x="7" y="9"/>
                  </a:cubicBezTo>
                  <a:cubicBezTo>
                    <a:pt x="11" y="3"/>
                    <a:pt x="17" y="0"/>
                    <a:pt x="25" y="0"/>
                  </a:cubicBezTo>
                  <a:cubicBezTo>
                    <a:pt x="41" y="0"/>
                    <a:pt x="49" y="12"/>
                    <a:pt x="49" y="35"/>
                  </a:cubicBezTo>
                  <a:cubicBezTo>
                    <a:pt x="49" y="46"/>
                    <a:pt x="47" y="55"/>
                    <a:pt x="42" y="61"/>
                  </a:cubicBezTo>
                  <a:cubicBezTo>
                    <a:pt x="38" y="67"/>
                    <a:pt x="32" y="70"/>
                    <a:pt x="24" y="70"/>
                  </a:cubicBezTo>
                  <a:close/>
                  <a:moveTo>
                    <a:pt x="25" y="12"/>
                  </a:moveTo>
                  <a:cubicBezTo>
                    <a:pt x="18" y="12"/>
                    <a:pt x="15" y="20"/>
                    <a:pt x="15" y="36"/>
                  </a:cubicBezTo>
                  <a:cubicBezTo>
                    <a:pt x="15" y="51"/>
                    <a:pt x="18" y="58"/>
                    <a:pt x="25" y="58"/>
                  </a:cubicBezTo>
                  <a:cubicBezTo>
                    <a:pt x="31" y="58"/>
                    <a:pt x="34" y="51"/>
                    <a:pt x="34" y="35"/>
                  </a:cubicBezTo>
                  <a:cubicBezTo>
                    <a:pt x="34" y="19"/>
                    <a:pt x="31" y="12"/>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299" name="Freeform 35"/>
            <p:cNvSpPr>
              <a:spLocks/>
            </p:cNvSpPr>
            <p:nvPr/>
          </p:nvSpPr>
          <p:spPr bwMode="auto">
            <a:xfrm>
              <a:off x="2144902" y="-860750"/>
              <a:ext cx="109538"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8 w 29"/>
                <a:gd name="T11" fmla="*/ 20 h 69"/>
                <a:gd name="T12" fmla="*/ 4 w 29"/>
                <a:gd name="T13" fmla="*/ 22 h 69"/>
                <a:gd name="T14" fmla="*/ 0 w 29"/>
                <a:gd name="T15" fmla="*/ 22 h 69"/>
                <a:gd name="T16" fmla="*/ 0 w 29"/>
                <a:gd name="T17" fmla="*/ 10 h 69"/>
                <a:gd name="T18" fmla="*/ 11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4" y="17"/>
                    <a:pt x="13" y="18"/>
                    <a:pt x="11" y="19"/>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grpSp>
        <p:nvGrpSpPr>
          <p:cNvPr id="300" name="Group 299"/>
          <p:cNvGrpSpPr/>
          <p:nvPr userDrawn="1"/>
        </p:nvGrpSpPr>
        <p:grpSpPr>
          <a:xfrm>
            <a:off x="12296994" y="636162"/>
            <a:ext cx="544891" cy="636880"/>
            <a:chOff x="1490852" y="-1529087"/>
            <a:chExt cx="798513" cy="933450"/>
          </a:xfrm>
          <a:solidFill>
            <a:schemeClr val="bg1">
              <a:lumMod val="85000"/>
            </a:schemeClr>
          </a:solidFill>
        </p:grpSpPr>
        <p:sp>
          <p:nvSpPr>
            <p:cNvPr id="301" name="Freeform 24"/>
            <p:cNvSpPr>
              <a:spLocks noEditPoints="1"/>
            </p:cNvSpPr>
            <p:nvPr/>
          </p:nvSpPr>
          <p:spPr bwMode="auto">
            <a:xfrm>
              <a:off x="1490852" y="-1529087"/>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0 h 70"/>
                <a:gd name="T12" fmla="*/ 24 w 48"/>
                <a:gd name="T13" fmla="*/ 70 h 70"/>
                <a:gd name="T14" fmla="*/ 24 w 48"/>
                <a:gd name="T15" fmla="*/ 11 h 70"/>
                <a:gd name="T16" fmla="*/ 15 w 48"/>
                <a:gd name="T17" fmla="*/ 35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1"/>
                    <a:pt x="48" y="34"/>
                  </a:cubicBezTo>
                  <a:cubicBezTo>
                    <a:pt x="48" y="46"/>
                    <a:pt x="46" y="54"/>
                    <a:pt x="42" y="60"/>
                  </a:cubicBezTo>
                  <a:cubicBezTo>
                    <a:pt x="38" y="66"/>
                    <a:pt x="32" y="70"/>
                    <a:pt x="24" y="70"/>
                  </a:cubicBezTo>
                  <a:close/>
                  <a:moveTo>
                    <a:pt x="24" y="11"/>
                  </a:moveTo>
                  <a:cubicBezTo>
                    <a:pt x="18" y="11"/>
                    <a:pt x="15" y="19"/>
                    <a:pt x="15" y="35"/>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02" name="Freeform 25"/>
            <p:cNvSpPr>
              <a:spLocks/>
            </p:cNvSpPr>
            <p:nvPr/>
          </p:nvSpPr>
          <p:spPr bwMode="auto">
            <a:xfrm>
              <a:off x="1725802" y="-1529087"/>
              <a:ext cx="111125"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7 w 29"/>
                <a:gd name="T11" fmla="*/ 20 h 68"/>
                <a:gd name="T12" fmla="*/ 4 w 29"/>
                <a:gd name="T13" fmla="*/ 21 h 68"/>
                <a:gd name="T14" fmla="*/ 0 w 29"/>
                <a:gd name="T15" fmla="*/ 22 h 68"/>
                <a:gd name="T16" fmla="*/ 0 w 29"/>
                <a:gd name="T17" fmla="*/ 10 h 68"/>
                <a:gd name="T18" fmla="*/ 10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7" y="20"/>
                  </a:cubicBezTo>
                  <a:cubicBezTo>
                    <a:pt x="6" y="21"/>
                    <a:pt x="5" y="21"/>
                    <a:pt x="4" y="21"/>
                  </a:cubicBezTo>
                  <a:cubicBezTo>
                    <a:pt x="2" y="22"/>
                    <a:pt x="1" y="22"/>
                    <a:pt x="0" y="22"/>
                  </a:cubicBezTo>
                  <a:cubicBezTo>
                    <a:pt x="0" y="10"/>
                    <a:pt x="0" y="10"/>
                    <a:pt x="0" y="10"/>
                  </a:cubicBezTo>
                  <a:cubicBezTo>
                    <a:pt x="3" y="9"/>
                    <a:pt x="7" y="7"/>
                    <a:pt x="10"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03" name="Freeform 26"/>
            <p:cNvSpPr>
              <a:spLocks noEditPoints="1"/>
            </p:cNvSpPr>
            <p:nvPr/>
          </p:nvSpPr>
          <p:spPr bwMode="auto">
            <a:xfrm>
              <a:off x="1908365" y="-1529087"/>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4 h 70"/>
                <a:gd name="T10" fmla="*/ 42 w 49"/>
                <a:gd name="T11" fmla="*/ 60 h 70"/>
                <a:gd name="T12" fmla="*/ 24 w 49"/>
                <a:gd name="T13" fmla="*/ 70 h 70"/>
                <a:gd name="T14" fmla="*/ 25 w 49"/>
                <a:gd name="T15" fmla="*/ 11 h 70"/>
                <a:gd name="T16" fmla="*/ 15 w 49"/>
                <a:gd name="T17" fmla="*/ 35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5" y="0"/>
                  </a:cubicBezTo>
                  <a:cubicBezTo>
                    <a:pt x="41" y="0"/>
                    <a:pt x="49" y="11"/>
                    <a:pt x="49" y="34"/>
                  </a:cubicBezTo>
                  <a:cubicBezTo>
                    <a:pt x="49" y="46"/>
                    <a:pt x="47" y="54"/>
                    <a:pt x="42" y="60"/>
                  </a:cubicBezTo>
                  <a:cubicBezTo>
                    <a:pt x="38" y="66"/>
                    <a:pt x="32" y="70"/>
                    <a:pt x="24" y="70"/>
                  </a:cubicBezTo>
                  <a:close/>
                  <a:moveTo>
                    <a:pt x="25" y="11"/>
                  </a:moveTo>
                  <a:cubicBezTo>
                    <a:pt x="18" y="11"/>
                    <a:pt x="15" y="19"/>
                    <a:pt x="15" y="35"/>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04" name="Freeform 27"/>
            <p:cNvSpPr>
              <a:spLocks/>
            </p:cNvSpPr>
            <p:nvPr/>
          </p:nvSpPr>
          <p:spPr bwMode="auto">
            <a:xfrm>
              <a:off x="2144902" y="-1529087"/>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1 h 68"/>
                <a:gd name="T14" fmla="*/ 0 w 29"/>
                <a:gd name="T15" fmla="*/ 22 h 68"/>
                <a:gd name="T16" fmla="*/ 0 w 29"/>
                <a:gd name="T17" fmla="*/ 10 h 68"/>
                <a:gd name="T18" fmla="*/ 11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1" y="18"/>
                  </a:cubicBezTo>
                  <a:cubicBezTo>
                    <a:pt x="10" y="19"/>
                    <a:pt x="9" y="20"/>
                    <a:pt x="8" y="20"/>
                  </a:cubicBezTo>
                  <a:cubicBezTo>
                    <a:pt x="7" y="21"/>
                    <a:pt x="5" y="21"/>
                    <a:pt x="4" y="21"/>
                  </a:cubicBezTo>
                  <a:cubicBezTo>
                    <a:pt x="3" y="22"/>
                    <a:pt x="1" y="22"/>
                    <a:pt x="0" y="22"/>
                  </a:cubicBezTo>
                  <a:cubicBezTo>
                    <a:pt x="0" y="10"/>
                    <a:pt x="0" y="10"/>
                    <a:pt x="0" y="10"/>
                  </a:cubicBezTo>
                  <a:cubicBezTo>
                    <a:pt x="4" y="9"/>
                    <a:pt x="8" y="7"/>
                    <a:pt x="11"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05" name="Freeform 28"/>
            <p:cNvSpPr>
              <a:spLocks/>
            </p:cNvSpPr>
            <p:nvPr/>
          </p:nvSpPr>
          <p:spPr bwMode="auto">
            <a:xfrm>
              <a:off x="1501965" y="-1195712"/>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8" y="20"/>
                  </a:cubicBezTo>
                  <a:cubicBezTo>
                    <a:pt x="6" y="21"/>
                    <a:pt x="5" y="21"/>
                    <a:pt x="4" y="22"/>
                  </a:cubicBezTo>
                  <a:cubicBezTo>
                    <a:pt x="2" y="22"/>
                    <a:pt x="1" y="22"/>
                    <a:pt x="0" y="22"/>
                  </a:cubicBezTo>
                  <a:cubicBezTo>
                    <a:pt x="0" y="10"/>
                    <a:pt x="0" y="10"/>
                    <a:pt x="0" y="10"/>
                  </a:cubicBezTo>
                  <a:cubicBezTo>
                    <a:pt x="4" y="9"/>
                    <a:pt x="7"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06" name="Freeform 29"/>
            <p:cNvSpPr>
              <a:spLocks noEditPoints="1"/>
            </p:cNvSpPr>
            <p:nvPr/>
          </p:nvSpPr>
          <p:spPr bwMode="auto">
            <a:xfrm>
              <a:off x="1684527" y="-1195712"/>
              <a:ext cx="185738" cy="266700"/>
            </a:xfrm>
            <a:custGeom>
              <a:avLst/>
              <a:gdLst>
                <a:gd name="T0" fmla="*/ 24 w 49"/>
                <a:gd name="T1" fmla="*/ 70 h 70"/>
                <a:gd name="T2" fmla="*/ 0 w 49"/>
                <a:gd name="T3" fmla="*/ 36 h 70"/>
                <a:gd name="T4" fmla="*/ 7 w 49"/>
                <a:gd name="T5" fmla="*/ 9 h 70"/>
                <a:gd name="T6" fmla="*/ 26 w 49"/>
                <a:gd name="T7" fmla="*/ 0 h 70"/>
                <a:gd name="T8" fmla="*/ 49 w 49"/>
                <a:gd name="T9" fmla="*/ 34 h 70"/>
                <a:gd name="T10" fmla="*/ 43 w 49"/>
                <a:gd name="T11" fmla="*/ 61 h 70"/>
                <a:gd name="T12" fmla="*/ 24 w 49"/>
                <a:gd name="T13" fmla="*/ 70 h 70"/>
                <a:gd name="T14" fmla="*/ 25 w 49"/>
                <a:gd name="T15" fmla="*/ 11 h 70"/>
                <a:gd name="T16" fmla="*/ 15 w 49"/>
                <a:gd name="T17" fmla="*/ 36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6" y="0"/>
                  </a:cubicBezTo>
                  <a:cubicBezTo>
                    <a:pt x="41" y="0"/>
                    <a:pt x="49" y="12"/>
                    <a:pt x="49" y="34"/>
                  </a:cubicBezTo>
                  <a:cubicBezTo>
                    <a:pt x="49" y="46"/>
                    <a:pt x="47" y="54"/>
                    <a:pt x="43" y="61"/>
                  </a:cubicBezTo>
                  <a:cubicBezTo>
                    <a:pt x="38" y="67"/>
                    <a:pt x="32" y="70"/>
                    <a:pt x="24" y="70"/>
                  </a:cubicBezTo>
                  <a:close/>
                  <a:moveTo>
                    <a:pt x="25" y="11"/>
                  </a:moveTo>
                  <a:cubicBezTo>
                    <a:pt x="18" y="11"/>
                    <a:pt x="15" y="19"/>
                    <a:pt x="15" y="36"/>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07" name="Freeform 30"/>
            <p:cNvSpPr>
              <a:spLocks/>
            </p:cNvSpPr>
            <p:nvPr/>
          </p:nvSpPr>
          <p:spPr bwMode="auto">
            <a:xfrm>
              <a:off x="1919477" y="-1195712"/>
              <a:ext cx="111125" cy="258763"/>
            </a:xfrm>
            <a:custGeom>
              <a:avLst/>
              <a:gdLst>
                <a:gd name="T0" fmla="*/ 29 w 29"/>
                <a:gd name="T1" fmla="*/ 0 h 68"/>
                <a:gd name="T2" fmla="*/ 29 w 29"/>
                <a:gd name="T3" fmla="*/ 68 h 68"/>
                <a:gd name="T4" fmla="*/ 14 w 29"/>
                <a:gd name="T5" fmla="*/ 68 h 68"/>
                <a:gd name="T6" fmla="*/ 14 w 29"/>
                <a:gd name="T7" fmla="*/ 16 h 68"/>
                <a:gd name="T8" fmla="*/ 12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2" y="18"/>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8"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08" name="Freeform 31"/>
            <p:cNvSpPr>
              <a:spLocks noEditPoints="1"/>
            </p:cNvSpPr>
            <p:nvPr/>
          </p:nvSpPr>
          <p:spPr bwMode="auto">
            <a:xfrm>
              <a:off x="2106802" y="-1195712"/>
              <a:ext cx="182563" cy="266700"/>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1 h 70"/>
                <a:gd name="T12" fmla="*/ 24 w 48"/>
                <a:gd name="T13" fmla="*/ 70 h 70"/>
                <a:gd name="T14" fmla="*/ 24 w 48"/>
                <a:gd name="T15" fmla="*/ 11 h 70"/>
                <a:gd name="T16" fmla="*/ 15 w 48"/>
                <a:gd name="T17" fmla="*/ 36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2"/>
                    <a:pt x="48" y="34"/>
                  </a:cubicBezTo>
                  <a:cubicBezTo>
                    <a:pt x="48" y="46"/>
                    <a:pt x="46" y="54"/>
                    <a:pt x="42" y="61"/>
                  </a:cubicBezTo>
                  <a:cubicBezTo>
                    <a:pt x="38" y="67"/>
                    <a:pt x="32" y="70"/>
                    <a:pt x="24" y="70"/>
                  </a:cubicBezTo>
                  <a:close/>
                  <a:moveTo>
                    <a:pt x="24" y="11"/>
                  </a:moveTo>
                  <a:cubicBezTo>
                    <a:pt x="18" y="11"/>
                    <a:pt x="15" y="19"/>
                    <a:pt x="15" y="36"/>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09" name="Freeform 32"/>
            <p:cNvSpPr>
              <a:spLocks noEditPoints="1"/>
            </p:cNvSpPr>
            <p:nvPr/>
          </p:nvSpPr>
          <p:spPr bwMode="auto">
            <a:xfrm>
              <a:off x="1490852" y="-860750"/>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5 h 70"/>
                <a:gd name="T10" fmla="*/ 42 w 48"/>
                <a:gd name="T11" fmla="*/ 61 h 70"/>
                <a:gd name="T12" fmla="*/ 24 w 48"/>
                <a:gd name="T13" fmla="*/ 70 h 70"/>
                <a:gd name="T14" fmla="*/ 24 w 48"/>
                <a:gd name="T15" fmla="*/ 12 h 70"/>
                <a:gd name="T16" fmla="*/ 15 w 48"/>
                <a:gd name="T17" fmla="*/ 36 h 70"/>
                <a:gd name="T18" fmla="*/ 24 w 48"/>
                <a:gd name="T19" fmla="*/ 58 h 70"/>
                <a:gd name="T20" fmla="*/ 33 w 48"/>
                <a:gd name="T21" fmla="*/ 35 h 70"/>
                <a:gd name="T22" fmla="*/ 24 w 48"/>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9"/>
                    <a:pt x="0" y="36"/>
                  </a:cubicBezTo>
                  <a:cubicBezTo>
                    <a:pt x="0" y="24"/>
                    <a:pt x="2" y="16"/>
                    <a:pt x="6" y="9"/>
                  </a:cubicBezTo>
                  <a:cubicBezTo>
                    <a:pt x="10" y="3"/>
                    <a:pt x="17" y="0"/>
                    <a:pt x="25" y="0"/>
                  </a:cubicBezTo>
                  <a:cubicBezTo>
                    <a:pt x="41" y="0"/>
                    <a:pt x="48" y="12"/>
                    <a:pt x="48" y="35"/>
                  </a:cubicBezTo>
                  <a:cubicBezTo>
                    <a:pt x="48" y="46"/>
                    <a:pt x="46" y="55"/>
                    <a:pt x="42" y="61"/>
                  </a:cubicBezTo>
                  <a:cubicBezTo>
                    <a:pt x="38" y="67"/>
                    <a:pt x="32" y="70"/>
                    <a:pt x="24" y="70"/>
                  </a:cubicBezTo>
                  <a:close/>
                  <a:moveTo>
                    <a:pt x="24" y="12"/>
                  </a:moveTo>
                  <a:cubicBezTo>
                    <a:pt x="18" y="12"/>
                    <a:pt x="15" y="20"/>
                    <a:pt x="15" y="36"/>
                  </a:cubicBezTo>
                  <a:cubicBezTo>
                    <a:pt x="15" y="51"/>
                    <a:pt x="18" y="58"/>
                    <a:pt x="24" y="58"/>
                  </a:cubicBezTo>
                  <a:cubicBezTo>
                    <a:pt x="30" y="58"/>
                    <a:pt x="33" y="51"/>
                    <a:pt x="33" y="35"/>
                  </a:cubicBezTo>
                  <a:cubicBezTo>
                    <a:pt x="33" y="19"/>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10" name="Freeform 33"/>
            <p:cNvSpPr>
              <a:spLocks/>
            </p:cNvSpPr>
            <p:nvPr/>
          </p:nvSpPr>
          <p:spPr bwMode="auto">
            <a:xfrm>
              <a:off x="1725802" y="-860750"/>
              <a:ext cx="111125"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7 w 29"/>
                <a:gd name="T11" fmla="*/ 20 h 69"/>
                <a:gd name="T12" fmla="*/ 4 w 29"/>
                <a:gd name="T13" fmla="*/ 22 h 69"/>
                <a:gd name="T14" fmla="*/ 0 w 29"/>
                <a:gd name="T15" fmla="*/ 22 h 69"/>
                <a:gd name="T16" fmla="*/ 0 w 29"/>
                <a:gd name="T17" fmla="*/ 10 h 69"/>
                <a:gd name="T18" fmla="*/ 10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3" y="17"/>
                    <a:pt x="12" y="18"/>
                    <a:pt x="11" y="19"/>
                  </a:cubicBezTo>
                  <a:cubicBezTo>
                    <a:pt x="10" y="19"/>
                    <a:pt x="9" y="20"/>
                    <a:pt x="7" y="20"/>
                  </a:cubicBezTo>
                  <a:cubicBezTo>
                    <a:pt x="6" y="21"/>
                    <a:pt x="5" y="21"/>
                    <a:pt x="4" y="22"/>
                  </a:cubicBezTo>
                  <a:cubicBezTo>
                    <a:pt x="2" y="22"/>
                    <a:pt x="1" y="22"/>
                    <a:pt x="0" y="22"/>
                  </a:cubicBezTo>
                  <a:cubicBezTo>
                    <a:pt x="0" y="10"/>
                    <a:pt x="0" y="10"/>
                    <a:pt x="0" y="10"/>
                  </a:cubicBezTo>
                  <a:cubicBezTo>
                    <a:pt x="3" y="9"/>
                    <a:pt x="7" y="7"/>
                    <a:pt x="10"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11" name="Freeform 34"/>
            <p:cNvSpPr>
              <a:spLocks noEditPoints="1"/>
            </p:cNvSpPr>
            <p:nvPr/>
          </p:nvSpPr>
          <p:spPr bwMode="auto">
            <a:xfrm>
              <a:off x="1908365" y="-860750"/>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5 h 70"/>
                <a:gd name="T10" fmla="*/ 42 w 49"/>
                <a:gd name="T11" fmla="*/ 61 h 70"/>
                <a:gd name="T12" fmla="*/ 24 w 49"/>
                <a:gd name="T13" fmla="*/ 70 h 70"/>
                <a:gd name="T14" fmla="*/ 25 w 49"/>
                <a:gd name="T15" fmla="*/ 12 h 70"/>
                <a:gd name="T16" fmla="*/ 15 w 49"/>
                <a:gd name="T17" fmla="*/ 36 h 70"/>
                <a:gd name="T18" fmla="*/ 25 w 49"/>
                <a:gd name="T19" fmla="*/ 58 h 70"/>
                <a:gd name="T20" fmla="*/ 34 w 49"/>
                <a:gd name="T21" fmla="*/ 35 h 70"/>
                <a:gd name="T22" fmla="*/ 25 w 49"/>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9"/>
                    <a:pt x="0" y="36"/>
                  </a:cubicBezTo>
                  <a:cubicBezTo>
                    <a:pt x="0" y="24"/>
                    <a:pt x="2" y="16"/>
                    <a:pt x="7" y="9"/>
                  </a:cubicBezTo>
                  <a:cubicBezTo>
                    <a:pt x="11" y="3"/>
                    <a:pt x="17" y="0"/>
                    <a:pt x="25" y="0"/>
                  </a:cubicBezTo>
                  <a:cubicBezTo>
                    <a:pt x="41" y="0"/>
                    <a:pt x="49" y="12"/>
                    <a:pt x="49" y="35"/>
                  </a:cubicBezTo>
                  <a:cubicBezTo>
                    <a:pt x="49" y="46"/>
                    <a:pt x="47" y="55"/>
                    <a:pt x="42" y="61"/>
                  </a:cubicBezTo>
                  <a:cubicBezTo>
                    <a:pt x="38" y="67"/>
                    <a:pt x="32" y="70"/>
                    <a:pt x="24" y="70"/>
                  </a:cubicBezTo>
                  <a:close/>
                  <a:moveTo>
                    <a:pt x="25" y="12"/>
                  </a:moveTo>
                  <a:cubicBezTo>
                    <a:pt x="18" y="12"/>
                    <a:pt x="15" y="20"/>
                    <a:pt x="15" y="36"/>
                  </a:cubicBezTo>
                  <a:cubicBezTo>
                    <a:pt x="15" y="51"/>
                    <a:pt x="18" y="58"/>
                    <a:pt x="25" y="58"/>
                  </a:cubicBezTo>
                  <a:cubicBezTo>
                    <a:pt x="31" y="58"/>
                    <a:pt x="34" y="51"/>
                    <a:pt x="34" y="35"/>
                  </a:cubicBezTo>
                  <a:cubicBezTo>
                    <a:pt x="34" y="19"/>
                    <a:pt x="31" y="12"/>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12" name="Freeform 35"/>
            <p:cNvSpPr>
              <a:spLocks/>
            </p:cNvSpPr>
            <p:nvPr/>
          </p:nvSpPr>
          <p:spPr bwMode="auto">
            <a:xfrm>
              <a:off x="2144902" y="-860750"/>
              <a:ext cx="109538"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8 w 29"/>
                <a:gd name="T11" fmla="*/ 20 h 69"/>
                <a:gd name="T12" fmla="*/ 4 w 29"/>
                <a:gd name="T13" fmla="*/ 22 h 69"/>
                <a:gd name="T14" fmla="*/ 0 w 29"/>
                <a:gd name="T15" fmla="*/ 22 h 69"/>
                <a:gd name="T16" fmla="*/ 0 w 29"/>
                <a:gd name="T17" fmla="*/ 10 h 69"/>
                <a:gd name="T18" fmla="*/ 11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4" y="17"/>
                    <a:pt x="13" y="18"/>
                    <a:pt x="11" y="19"/>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sp>
        <p:nvSpPr>
          <p:cNvPr id="313" name="Freeform 312"/>
          <p:cNvSpPr>
            <a:spLocks/>
          </p:cNvSpPr>
          <p:nvPr userDrawn="1"/>
        </p:nvSpPr>
        <p:spPr bwMode="auto">
          <a:xfrm>
            <a:off x="4256887" y="6202650"/>
            <a:ext cx="403206" cy="723920"/>
          </a:xfrm>
          <a:custGeom>
            <a:avLst/>
            <a:gdLst>
              <a:gd name="connsiteX0" fmla="*/ 1467572 w 1685925"/>
              <a:gd name="connsiteY0" fmla="*/ 2763838 h 3027362"/>
              <a:gd name="connsiteX1" fmla="*/ 1420813 w 1685925"/>
              <a:gd name="connsiteY1" fmla="*/ 2810669 h 3027362"/>
              <a:gd name="connsiteX2" fmla="*/ 1467572 w 1685925"/>
              <a:gd name="connsiteY2" fmla="*/ 2857500 h 3027362"/>
              <a:gd name="connsiteX3" fmla="*/ 1545504 w 1685925"/>
              <a:gd name="connsiteY3" fmla="*/ 2857500 h 3027362"/>
              <a:gd name="connsiteX4" fmla="*/ 1592263 w 1685925"/>
              <a:gd name="connsiteY4" fmla="*/ 2810669 h 3027362"/>
              <a:gd name="connsiteX5" fmla="*/ 1545504 w 1685925"/>
              <a:gd name="connsiteY5" fmla="*/ 2763838 h 3027362"/>
              <a:gd name="connsiteX6" fmla="*/ 1467572 w 1685925"/>
              <a:gd name="connsiteY6" fmla="*/ 2763838 h 3027362"/>
              <a:gd name="connsiteX7" fmla="*/ 140855 w 1685925"/>
              <a:gd name="connsiteY7" fmla="*/ 2763838 h 3027362"/>
              <a:gd name="connsiteX8" fmla="*/ 93663 w 1685925"/>
              <a:gd name="connsiteY8" fmla="*/ 2810669 h 3027362"/>
              <a:gd name="connsiteX9" fmla="*/ 140855 w 1685925"/>
              <a:gd name="connsiteY9" fmla="*/ 2857500 h 3027362"/>
              <a:gd name="connsiteX10" fmla="*/ 219509 w 1685925"/>
              <a:gd name="connsiteY10" fmla="*/ 2857500 h 3027362"/>
              <a:gd name="connsiteX11" fmla="*/ 266701 w 1685925"/>
              <a:gd name="connsiteY11" fmla="*/ 2810669 h 3027362"/>
              <a:gd name="connsiteX12" fmla="*/ 219509 w 1685925"/>
              <a:gd name="connsiteY12" fmla="*/ 2763838 h 3027362"/>
              <a:gd name="connsiteX13" fmla="*/ 140855 w 1685925"/>
              <a:gd name="connsiteY13" fmla="*/ 2763838 h 3027362"/>
              <a:gd name="connsiteX14" fmla="*/ 765106 w 1685925"/>
              <a:gd name="connsiteY14" fmla="*/ 2717800 h 3027362"/>
              <a:gd name="connsiteX15" fmla="*/ 671513 w 1685925"/>
              <a:gd name="connsiteY15" fmla="*/ 2810119 h 3027362"/>
              <a:gd name="connsiteX16" fmla="*/ 765106 w 1685925"/>
              <a:gd name="connsiteY16" fmla="*/ 2917825 h 3027362"/>
              <a:gd name="connsiteX17" fmla="*/ 936695 w 1685925"/>
              <a:gd name="connsiteY17" fmla="*/ 2917825 h 3027362"/>
              <a:gd name="connsiteX18" fmla="*/ 1030288 w 1685925"/>
              <a:gd name="connsiteY18" fmla="*/ 2810119 h 3027362"/>
              <a:gd name="connsiteX19" fmla="*/ 936695 w 1685925"/>
              <a:gd name="connsiteY19" fmla="*/ 2717800 h 3027362"/>
              <a:gd name="connsiteX20" fmla="*/ 765106 w 1685925"/>
              <a:gd name="connsiteY20" fmla="*/ 2717800 h 3027362"/>
              <a:gd name="connsiteX21" fmla="*/ 93663 w 1685925"/>
              <a:gd name="connsiteY21" fmla="*/ 433388 h 3027362"/>
              <a:gd name="connsiteX22" fmla="*/ 93663 w 1685925"/>
              <a:gd name="connsiteY22" fmla="*/ 2593975 h 3027362"/>
              <a:gd name="connsiteX23" fmla="*/ 1592263 w 1685925"/>
              <a:gd name="connsiteY23" fmla="*/ 2593975 h 3027362"/>
              <a:gd name="connsiteX24" fmla="*/ 1592263 w 1685925"/>
              <a:gd name="connsiteY24" fmla="*/ 433388 h 3027362"/>
              <a:gd name="connsiteX25" fmla="*/ 405871 w 1685925"/>
              <a:gd name="connsiteY25" fmla="*/ 169863 h 3027362"/>
              <a:gd name="connsiteX26" fmla="*/ 374650 w 1685925"/>
              <a:gd name="connsiteY26" fmla="*/ 201613 h 3027362"/>
              <a:gd name="connsiteX27" fmla="*/ 405871 w 1685925"/>
              <a:gd name="connsiteY27" fmla="*/ 217488 h 3027362"/>
              <a:gd name="connsiteX28" fmla="*/ 1280054 w 1685925"/>
              <a:gd name="connsiteY28" fmla="*/ 217488 h 3027362"/>
              <a:gd name="connsiteX29" fmla="*/ 1311275 w 1685925"/>
              <a:gd name="connsiteY29" fmla="*/ 201613 h 3027362"/>
              <a:gd name="connsiteX30" fmla="*/ 1280054 w 1685925"/>
              <a:gd name="connsiteY30" fmla="*/ 169863 h 3027362"/>
              <a:gd name="connsiteX31" fmla="*/ 405871 w 1685925"/>
              <a:gd name="connsiteY31" fmla="*/ 169863 h 3027362"/>
              <a:gd name="connsiteX32" fmla="*/ 140494 w 1685925"/>
              <a:gd name="connsiteY32" fmla="*/ 0 h 3027362"/>
              <a:gd name="connsiteX33" fmla="*/ 1561042 w 1685925"/>
              <a:gd name="connsiteY33" fmla="*/ 0 h 3027362"/>
              <a:gd name="connsiteX34" fmla="*/ 1685925 w 1685925"/>
              <a:gd name="connsiteY34" fmla="*/ 139012 h 3027362"/>
              <a:gd name="connsiteX35" fmla="*/ 1685925 w 1685925"/>
              <a:gd name="connsiteY35" fmla="*/ 2903796 h 3027362"/>
              <a:gd name="connsiteX36" fmla="*/ 1561042 w 1685925"/>
              <a:gd name="connsiteY36" fmla="*/ 3027362 h 3027362"/>
              <a:gd name="connsiteX37" fmla="*/ 140494 w 1685925"/>
              <a:gd name="connsiteY37" fmla="*/ 3027362 h 3027362"/>
              <a:gd name="connsiteX38" fmla="*/ 0 w 1685925"/>
              <a:gd name="connsiteY38" fmla="*/ 2903796 h 3027362"/>
              <a:gd name="connsiteX39" fmla="*/ 0 w 1685925"/>
              <a:gd name="connsiteY39" fmla="*/ 139012 h 3027362"/>
              <a:gd name="connsiteX40" fmla="*/ 140494 w 1685925"/>
              <a:gd name="connsiteY40" fmla="*/ 0 h 3027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685925" h="3027362">
                <a:moveTo>
                  <a:pt x="1467572" y="2763838"/>
                </a:moveTo>
                <a:cubicBezTo>
                  <a:pt x="1451986" y="2763838"/>
                  <a:pt x="1420813" y="2795059"/>
                  <a:pt x="1420813" y="2810669"/>
                </a:cubicBezTo>
                <a:cubicBezTo>
                  <a:pt x="1420813" y="2841890"/>
                  <a:pt x="1451986" y="2857500"/>
                  <a:pt x="1467572" y="2857500"/>
                </a:cubicBezTo>
                <a:cubicBezTo>
                  <a:pt x="1467572" y="2857500"/>
                  <a:pt x="1467572" y="2857500"/>
                  <a:pt x="1545504" y="2857500"/>
                </a:cubicBezTo>
                <a:cubicBezTo>
                  <a:pt x="1576677" y="2857500"/>
                  <a:pt x="1592263" y="2841890"/>
                  <a:pt x="1592263" y="2810669"/>
                </a:cubicBezTo>
                <a:cubicBezTo>
                  <a:pt x="1592263" y="2795059"/>
                  <a:pt x="1576677" y="2763838"/>
                  <a:pt x="1545504" y="2763838"/>
                </a:cubicBezTo>
                <a:cubicBezTo>
                  <a:pt x="1545504" y="2763838"/>
                  <a:pt x="1545504" y="2763838"/>
                  <a:pt x="1467572" y="2763838"/>
                </a:cubicBezTo>
                <a:close/>
                <a:moveTo>
                  <a:pt x="140855" y="2763838"/>
                </a:moveTo>
                <a:cubicBezTo>
                  <a:pt x="109394" y="2763838"/>
                  <a:pt x="93663" y="2795059"/>
                  <a:pt x="93663" y="2810669"/>
                </a:cubicBezTo>
                <a:cubicBezTo>
                  <a:pt x="93663" y="2841890"/>
                  <a:pt x="109394" y="2857500"/>
                  <a:pt x="140855" y="2857500"/>
                </a:cubicBezTo>
                <a:cubicBezTo>
                  <a:pt x="140855" y="2857500"/>
                  <a:pt x="140855" y="2857500"/>
                  <a:pt x="219509" y="2857500"/>
                </a:cubicBezTo>
                <a:cubicBezTo>
                  <a:pt x="235240" y="2857500"/>
                  <a:pt x="266701" y="2841890"/>
                  <a:pt x="266701" y="2810669"/>
                </a:cubicBezTo>
                <a:cubicBezTo>
                  <a:pt x="266701" y="2795059"/>
                  <a:pt x="235240" y="2763838"/>
                  <a:pt x="219509" y="2763838"/>
                </a:cubicBezTo>
                <a:cubicBezTo>
                  <a:pt x="219509" y="2763838"/>
                  <a:pt x="219509" y="2763838"/>
                  <a:pt x="140855" y="2763838"/>
                </a:cubicBezTo>
                <a:close/>
                <a:moveTo>
                  <a:pt x="765106" y="2717800"/>
                </a:moveTo>
                <a:cubicBezTo>
                  <a:pt x="702711" y="2717800"/>
                  <a:pt x="671513" y="2763960"/>
                  <a:pt x="671513" y="2810119"/>
                </a:cubicBezTo>
                <a:cubicBezTo>
                  <a:pt x="671513" y="2871666"/>
                  <a:pt x="702711" y="2917825"/>
                  <a:pt x="765106" y="2917825"/>
                </a:cubicBezTo>
                <a:cubicBezTo>
                  <a:pt x="765106" y="2917825"/>
                  <a:pt x="765106" y="2917825"/>
                  <a:pt x="936695" y="2917825"/>
                </a:cubicBezTo>
                <a:cubicBezTo>
                  <a:pt x="983491" y="2917825"/>
                  <a:pt x="1030288" y="2871666"/>
                  <a:pt x="1030288" y="2810119"/>
                </a:cubicBezTo>
                <a:cubicBezTo>
                  <a:pt x="1030288" y="2763960"/>
                  <a:pt x="983491" y="2717800"/>
                  <a:pt x="936695" y="2717800"/>
                </a:cubicBezTo>
                <a:cubicBezTo>
                  <a:pt x="936695" y="2717800"/>
                  <a:pt x="936695" y="2717800"/>
                  <a:pt x="765106" y="2717800"/>
                </a:cubicBezTo>
                <a:close/>
                <a:moveTo>
                  <a:pt x="93663" y="433388"/>
                </a:moveTo>
                <a:lnTo>
                  <a:pt x="93663" y="2593975"/>
                </a:lnTo>
                <a:lnTo>
                  <a:pt x="1592263" y="2593975"/>
                </a:lnTo>
                <a:lnTo>
                  <a:pt x="1592263" y="433388"/>
                </a:lnTo>
                <a:close/>
                <a:moveTo>
                  <a:pt x="405871" y="169863"/>
                </a:moveTo>
                <a:cubicBezTo>
                  <a:pt x="390260" y="169863"/>
                  <a:pt x="374650" y="185738"/>
                  <a:pt x="374650" y="201613"/>
                </a:cubicBezTo>
                <a:cubicBezTo>
                  <a:pt x="374650" y="217488"/>
                  <a:pt x="390260" y="217488"/>
                  <a:pt x="405871" y="217488"/>
                </a:cubicBezTo>
                <a:cubicBezTo>
                  <a:pt x="405871" y="217488"/>
                  <a:pt x="405871" y="217488"/>
                  <a:pt x="1280054" y="217488"/>
                </a:cubicBezTo>
                <a:cubicBezTo>
                  <a:pt x="1295665" y="217488"/>
                  <a:pt x="1311275" y="217488"/>
                  <a:pt x="1311275" y="201613"/>
                </a:cubicBezTo>
                <a:cubicBezTo>
                  <a:pt x="1311275" y="185738"/>
                  <a:pt x="1295665" y="169863"/>
                  <a:pt x="1280054" y="169863"/>
                </a:cubicBezTo>
                <a:cubicBezTo>
                  <a:pt x="1280054" y="169863"/>
                  <a:pt x="1280054" y="169863"/>
                  <a:pt x="405871" y="169863"/>
                </a:cubicBezTo>
                <a:close/>
                <a:moveTo>
                  <a:pt x="140494" y="0"/>
                </a:moveTo>
                <a:cubicBezTo>
                  <a:pt x="1561042" y="0"/>
                  <a:pt x="1561042" y="0"/>
                  <a:pt x="1561042" y="0"/>
                </a:cubicBezTo>
                <a:cubicBezTo>
                  <a:pt x="1623483" y="0"/>
                  <a:pt x="1685925" y="61783"/>
                  <a:pt x="1685925" y="139012"/>
                </a:cubicBezTo>
                <a:lnTo>
                  <a:pt x="1685925" y="2903796"/>
                </a:lnTo>
                <a:cubicBezTo>
                  <a:pt x="1685925" y="2981025"/>
                  <a:pt x="1623483" y="3027362"/>
                  <a:pt x="1561042" y="3027362"/>
                </a:cubicBezTo>
                <a:cubicBezTo>
                  <a:pt x="140494" y="3027362"/>
                  <a:pt x="140494" y="3027362"/>
                  <a:pt x="140494" y="3027362"/>
                </a:cubicBezTo>
                <a:cubicBezTo>
                  <a:pt x="62442" y="3027362"/>
                  <a:pt x="0" y="2981025"/>
                  <a:pt x="0" y="2903796"/>
                </a:cubicBezTo>
                <a:cubicBezTo>
                  <a:pt x="0" y="139012"/>
                  <a:pt x="0" y="139012"/>
                  <a:pt x="0" y="139012"/>
                </a:cubicBezTo>
                <a:cubicBezTo>
                  <a:pt x="0" y="61783"/>
                  <a:pt x="62442" y="0"/>
                  <a:pt x="140494"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14" name="Freeform 313"/>
          <p:cNvSpPr/>
          <p:nvPr userDrawn="1"/>
        </p:nvSpPr>
        <p:spPr bwMode="auto">
          <a:xfrm rot="18900000" flipH="1">
            <a:off x="8668249" y="4954199"/>
            <a:ext cx="438402" cy="616111"/>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5" name="Group 314"/>
          <p:cNvGrpSpPr/>
          <p:nvPr userDrawn="1"/>
        </p:nvGrpSpPr>
        <p:grpSpPr>
          <a:xfrm>
            <a:off x="8703182" y="4554729"/>
            <a:ext cx="426168" cy="450522"/>
            <a:chOff x="-2947988" y="774700"/>
            <a:chExt cx="2936875" cy="3105151"/>
          </a:xfrm>
          <a:solidFill>
            <a:schemeClr val="bg1">
              <a:lumMod val="85000"/>
            </a:schemeClr>
          </a:solidFill>
        </p:grpSpPr>
        <p:sp>
          <p:nvSpPr>
            <p:cNvPr id="316" name="Freeform 125"/>
            <p:cNvSpPr>
              <a:spLocks/>
            </p:cNvSpPr>
            <p:nvPr/>
          </p:nvSpPr>
          <p:spPr bwMode="auto">
            <a:xfrm>
              <a:off x="-2947988" y="774700"/>
              <a:ext cx="2936875" cy="1779588"/>
            </a:xfrm>
            <a:custGeom>
              <a:avLst/>
              <a:gdLst>
                <a:gd name="T0" fmla="*/ 390 w 780"/>
                <a:gd name="T1" fmla="*/ 0 h 473"/>
                <a:gd name="T2" fmla="*/ 401 w 780"/>
                <a:gd name="T3" fmla="*/ 4 h 473"/>
                <a:gd name="T4" fmla="*/ 768 w 780"/>
                <a:gd name="T5" fmla="*/ 216 h 473"/>
                <a:gd name="T6" fmla="*/ 778 w 780"/>
                <a:gd name="T7" fmla="*/ 228 h 473"/>
                <a:gd name="T8" fmla="*/ 778 w 780"/>
                <a:gd name="T9" fmla="*/ 243 h 473"/>
                <a:gd name="T10" fmla="*/ 768 w 780"/>
                <a:gd name="T11" fmla="*/ 255 h 473"/>
                <a:gd name="T12" fmla="*/ 401 w 780"/>
                <a:gd name="T13" fmla="*/ 468 h 473"/>
                <a:gd name="T14" fmla="*/ 396 w 780"/>
                <a:gd name="T15" fmla="*/ 470 h 473"/>
                <a:gd name="T16" fmla="*/ 390 w 780"/>
                <a:gd name="T17" fmla="*/ 473 h 473"/>
                <a:gd name="T18" fmla="*/ 384 w 780"/>
                <a:gd name="T19" fmla="*/ 470 h 473"/>
                <a:gd name="T20" fmla="*/ 379 w 780"/>
                <a:gd name="T21" fmla="*/ 468 h 473"/>
                <a:gd name="T22" fmla="*/ 12 w 780"/>
                <a:gd name="T23" fmla="*/ 255 h 473"/>
                <a:gd name="T24" fmla="*/ 2 w 780"/>
                <a:gd name="T25" fmla="*/ 243 h 473"/>
                <a:gd name="T26" fmla="*/ 2 w 780"/>
                <a:gd name="T27" fmla="*/ 228 h 473"/>
                <a:gd name="T28" fmla="*/ 12 w 780"/>
                <a:gd name="T29" fmla="*/ 216 h 473"/>
                <a:gd name="T30" fmla="*/ 379 w 780"/>
                <a:gd name="T31" fmla="*/ 4 h 473"/>
                <a:gd name="T32" fmla="*/ 390 w 780"/>
                <a:gd name="T33" fmla="*/ 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0" h="473">
                  <a:moveTo>
                    <a:pt x="390" y="0"/>
                  </a:moveTo>
                  <a:cubicBezTo>
                    <a:pt x="394" y="0"/>
                    <a:pt x="398" y="1"/>
                    <a:pt x="401" y="4"/>
                  </a:cubicBezTo>
                  <a:cubicBezTo>
                    <a:pt x="768" y="216"/>
                    <a:pt x="768" y="216"/>
                    <a:pt x="768" y="216"/>
                  </a:cubicBezTo>
                  <a:cubicBezTo>
                    <a:pt x="773" y="219"/>
                    <a:pt x="776" y="223"/>
                    <a:pt x="778" y="228"/>
                  </a:cubicBezTo>
                  <a:cubicBezTo>
                    <a:pt x="780" y="233"/>
                    <a:pt x="780" y="238"/>
                    <a:pt x="778" y="243"/>
                  </a:cubicBezTo>
                  <a:cubicBezTo>
                    <a:pt x="776" y="248"/>
                    <a:pt x="773" y="252"/>
                    <a:pt x="768" y="255"/>
                  </a:cubicBezTo>
                  <a:cubicBezTo>
                    <a:pt x="401" y="468"/>
                    <a:pt x="401" y="468"/>
                    <a:pt x="401" y="468"/>
                  </a:cubicBezTo>
                  <a:cubicBezTo>
                    <a:pt x="400" y="468"/>
                    <a:pt x="398" y="469"/>
                    <a:pt x="396" y="470"/>
                  </a:cubicBezTo>
                  <a:cubicBezTo>
                    <a:pt x="390" y="473"/>
                    <a:pt x="390" y="473"/>
                    <a:pt x="390" y="473"/>
                  </a:cubicBezTo>
                  <a:cubicBezTo>
                    <a:pt x="384" y="470"/>
                    <a:pt x="384" y="470"/>
                    <a:pt x="384" y="470"/>
                  </a:cubicBezTo>
                  <a:cubicBezTo>
                    <a:pt x="382" y="469"/>
                    <a:pt x="380" y="468"/>
                    <a:pt x="379" y="468"/>
                  </a:cubicBezTo>
                  <a:cubicBezTo>
                    <a:pt x="12" y="255"/>
                    <a:pt x="12" y="255"/>
                    <a:pt x="12" y="255"/>
                  </a:cubicBezTo>
                  <a:cubicBezTo>
                    <a:pt x="7" y="252"/>
                    <a:pt x="4" y="248"/>
                    <a:pt x="2" y="243"/>
                  </a:cubicBezTo>
                  <a:cubicBezTo>
                    <a:pt x="0" y="238"/>
                    <a:pt x="0" y="233"/>
                    <a:pt x="2" y="228"/>
                  </a:cubicBezTo>
                  <a:cubicBezTo>
                    <a:pt x="4" y="223"/>
                    <a:pt x="7" y="219"/>
                    <a:pt x="12" y="216"/>
                  </a:cubicBezTo>
                  <a:cubicBezTo>
                    <a:pt x="379" y="4"/>
                    <a:pt x="379" y="4"/>
                    <a:pt x="379" y="4"/>
                  </a:cubicBezTo>
                  <a:cubicBezTo>
                    <a:pt x="382" y="1"/>
                    <a:pt x="386" y="0"/>
                    <a:pt x="39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17" name="Freeform 126"/>
            <p:cNvSpPr>
              <a:spLocks/>
            </p:cNvSpPr>
            <p:nvPr/>
          </p:nvSpPr>
          <p:spPr bwMode="auto">
            <a:xfrm>
              <a:off x="-2947988" y="2760663"/>
              <a:ext cx="2936875" cy="1119188"/>
            </a:xfrm>
            <a:custGeom>
              <a:avLst/>
              <a:gdLst>
                <a:gd name="T0" fmla="*/ 367 w 780"/>
                <a:gd name="T1" fmla="*/ 163 h 297"/>
                <a:gd name="T2" fmla="*/ 368 w 780"/>
                <a:gd name="T3" fmla="*/ 163 h 297"/>
                <a:gd name="T4" fmla="*/ 390 w 780"/>
                <a:gd name="T5" fmla="*/ 169 h 297"/>
                <a:gd name="T6" fmla="*/ 413 w 780"/>
                <a:gd name="T7" fmla="*/ 163 h 297"/>
                <a:gd name="T8" fmla="*/ 695 w 780"/>
                <a:gd name="T9" fmla="*/ 0 h 297"/>
                <a:gd name="T10" fmla="*/ 768 w 780"/>
                <a:gd name="T11" fmla="*/ 42 h 297"/>
                <a:gd name="T12" fmla="*/ 778 w 780"/>
                <a:gd name="T13" fmla="*/ 54 h 297"/>
                <a:gd name="T14" fmla="*/ 778 w 780"/>
                <a:gd name="T15" fmla="*/ 70 h 297"/>
                <a:gd name="T16" fmla="*/ 768 w 780"/>
                <a:gd name="T17" fmla="*/ 82 h 297"/>
                <a:gd name="T18" fmla="*/ 401 w 780"/>
                <a:gd name="T19" fmla="*/ 294 h 297"/>
                <a:gd name="T20" fmla="*/ 390 w 780"/>
                <a:gd name="T21" fmla="*/ 297 h 297"/>
                <a:gd name="T22" fmla="*/ 379 w 780"/>
                <a:gd name="T23" fmla="*/ 294 h 297"/>
                <a:gd name="T24" fmla="*/ 12 w 780"/>
                <a:gd name="T25" fmla="*/ 82 h 297"/>
                <a:gd name="T26" fmla="*/ 2 w 780"/>
                <a:gd name="T27" fmla="*/ 70 h 297"/>
                <a:gd name="T28" fmla="*/ 2 w 780"/>
                <a:gd name="T29" fmla="*/ 54 h 297"/>
                <a:gd name="T30" fmla="*/ 12 w 780"/>
                <a:gd name="T31" fmla="*/ 42 h 297"/>
                <a:gd name="T32" fmla="*/ 86 w 780"/>
                <a:gd name="T33" fmla="*/ 0 h 297"/>
                <a:gd name="T34" fmla="*/ 367 w 780"/>
                <a:gd name="T35" fmla="*/ 16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7">
                  <a:moveTo>
                    <a:pt x="367" y="163"/>
                  </a:moveTo>
                  <a:cubicBezTo>
                    <a:pt x="368" y="163"/>
                    <a:pt x="368" y="163"/>
                    <a:pt x="368" y="163"/>
                  </a:cubicBezTo>
                  <a:cubicBezTo>
                    <a:pt x="374" y="167"/>
                    <a:pt x="382" y="169"/>
                    <a:pt x="390" y="169"/>
                  </a:cubicBezTo>
                  <a:cubicBezTo>
                    <a:pt x="398" y="169"/>
                    <a:pt x="406" y="167"/>
                    <a:pt x="413" y="163"/>
                  </a:cubicBezTo>
                  <a:cubicBezTo>
                    <a:pt x="695" y="0"/>
                    <a:pt x="695" y="0"/>
                    <a:pt x="695" y="0"/>
                  </a:cubicBezTo>
                  <a:cubicBezTo>
                    <a:pt x="768" y="42"/>
                    <a:pt x="768" y="42"/>
                    <a:pt x="768" y="42"/>
                  </a:cubicBezTo>
                  <a:cubicBezTo>
                    <a:pt x="773" y="45"/>
                    <a:pt x="776" y="49"/>
                    <a:pt x="778" y="54"/>
                  </a:cubicBezTo>
                  <a:cubicBezTo>
                    <a:pt x="780" y="59"/>
                    <a:pt x="780" y="65"/>
                    <a:pt x="778" y="70"/>
                  </a:cubicBezTo>
                  <a:cubicBezTo>
                    <a:pt x="776" y="75"/>
                    <a:pt x="773" y="79"/>
                    <a:pt x="768" y="82"/>
                  </a:cubicBezTo>
                  <a:cubicBezTo>
                    <a:pt x="401" y="294"/>
                    <a:pt x="401" y="294"/>
                    <a:pt x="401" y="294"/>
                  </a:cubicBezTo>
                  <a:cubicBezTo>
                    <a:pt x="398" y="296"/>
                    <a:pt x="394" y="297"/>
                    <a:pt x="390" y="297"/>
                  </a:cubicBezTo>
                  <a:cubicBezTo>
                    <a:pt x="386" y="297"/>
                    <a:pt x="382" y="296"/>
                    <a:pt x="379" y="294"/>
                  </a:cubicBezTo>
                  <a:cubicBezTo>
                    <a:pt x="12" y="82"/>
                    <a:pt x="12" y="82"/>
                    <a:pt x="12" y="82"/>
                  </a:cubicBezTo>
                  <a:cubicBezTo>
                    <a:pt x="7" y="79"/>
                    <a:pt x="4" y="75"/>
                    <a:pt x="2" y="70"/>
                  </a:cubicBezTo>
                  <a:cubicBezTo>
                    <a:pt x="0" y="65"/>
                    <a:pt x="0" y="59"/>
                    <a:pt x="2" y="54"/>
                  </a:cubicBezTo>
                  <a:cubicBezTo>
                    <a:pt x="4" y="49"/>
                    <a:pt x="7" y="45"/>
                    <a:pt x="12" y="42"/>
                  </a:cubicBezTo>
                  <a:cubicBezTo>
                    <a:pt x="86" y="0"/>
                    <a:pt x="86" y="0"/>
                    <a:pt x="86" y="0"/>
                  </a:cubicBezTo>
                  <a:lnTo>
                    <a:pt x="367" y="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18" name="Freeform 127"/>
            <p:cNvSpPr>
              <a:spLocks/>
            </p:cNvSpPr>
            <p:nvPr/>
          </p:nvSpPr>
          <p:spPr bwMode="auto">
            <a:xfrm>
              <a:off x="-2947988" y="2090738"/>
              <a:ext cx="2936875" cy="1114425"/>
            </a:xfrm>
            <a:custGeom>
              <a:avLst/>
              <a:gdLst>
                <a:gd name="T0" fmla="*/ 778 w 780"/>
                <a:gd name="T1" fmla="*/ 70 h 296"/>
                <a:gd name="T2" fmla="*/ 768 w 780"/>
                <a:gd name="T3" fmla="*/ 82 h 296"/>
                <a:gd name="T4" fmla="*/ 401 w 780"/>
                <a:gd name="T5" fmla="*/ 294 h 296"/>
                <a:gd name="T6" fmla="*/ 390 w 780"/>
                <a:gd name="T7" fmla="*/ 296 h 296"/>
                <a:gd name="T8" fmla="*/ 379 w 780"/>
                <a:gd name="T9" fmla="*/ 294 h 296"/>
                <a:gd name="T10" fmla="*/ 12 w 780"/>
                <a:gd name="T11" fmla="*/ 82 h 296"/>
                <a:gd name="T12" fmla="*/ 2 w 780"/>
                <a:gd name="T13" fmla="*/ 70 h 296"/>
                <a:gd name="T14" fmla="*/ 2 w 780"/>
                <a:gd name="T15" fmla="*/ 54 h 296"/>
                <a:gd name="T16" fmla="*/ 12 w 780"/>
                <a:gd name="T17" fmla="*/ 42 h 296"/>
                <a:gd name="T18" fmla="*/ 86 w 780"/>
                <a:gd name="T19" fmla="*/ 0 h 296"/>
                <a:gd name="T20" fmla="*/ 367 w 780"/>
                <a:gd name="T21" fmla="*/ 163 h 296"/>
                <a:gd name="T22" fmla="*/ 368 w 780"/>
                <a:gd name="T23" fmla="*/ 163 h 296"/>
                <a:gd name="T24" fmla="*/ 390 w 780"/>
                <a:gd name="T25" fmla="*/ 168 h 296"/>
                <a:gd name="T26" fmla="*/ 413 w 780"/>
                <a:gd name="T27" fmla="*/ 163 h 296"/>
                <a:gd name="T28" fmla="*/ 695 w 780"/>
                <a:gd name="T29" fmla="*/ 0 h 296"/>
                <a:gd name="T30" fmla="*/ 768 w 780"/>
                <a:gd name="T31" fmla="*/ 42 h 296"/>
                <a:gd name="T32" fmla="*/ 778 w 780"/>
                <a:gd name="T33" fmla="*/ 54 h 296"/>
                <a:gd name="T34" fmla="*/ 778 w 780"/>
                <a:gd name="T35" fmla="*/ 7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0" h="296">
                  <a:moveTo>
                    <a:pt x="778" y="70"/>
                  </a:moveTo>
                  <a:cubicBezTo>
                    <a:pt x="776" y="74"/>
                    <a:pt x="773" y="78"/>
                    <a:pt x="768" y="82"/>
                  </a:cubicBezTo>
                  <a:cubicBezTo>
                    <a:pt x="401" y="294"/>
                    <a:pt x="401" y="294"/>
                    <a:pt x="401" y="294"/>
                  </a:cubicBezTo>
                  <a:cubicBezTo>
                    <a:pt x="398" y="295"/>
                    <a:pt x="394" y="296"/>
                    <a:pt x="390" y="296"/>
                  </a:cubicBezTo>
                  <a:cubicBezTo>
                    <a:pt x="386" y="296"/>
                    <a:pt x="382" y="295"/>
                    <a:pt x="379" y="294"/>
                  </a:cubicBezTo>
                  <a:cubicBezTo>
                    <a:pt x="12" y="82"/>
                    <a:pt x="12" y="82"/>
                    <a:pt x="12" y="82"/>
                  </a:cubicBezTo>
                  <a:cubicBezTo>
                    <a:pt x="7" y="78"/>
                    <a:pt x="4" y="74"/>
                    <a:pt x="2" y="70"/>
                  </a:cubicBezTo>
                  <a:cubicBezTo>
                    <a:pt x="0" y="64"/>
                    <a:pt x="0" y="59"/>
                    <a:pt x="2" y="54"/>
                  </a:cubicBezTo>
                  <a:cubicBezTo>
                    <a:pt x="4" y="49"/>
                    <a:pt x="7" y="45"/>
                    <a:pt x="12" y="42"/>
                  </a:cubicBezTo>
                  <a:cubicBezTo>
                    <a:pt x="86" y="0"/>
                    <a:pt x="86" y="0"/>
                    <a:pt x="86" y="0"/>
                  </a:cubicBezTo>
                  <a:cubicBezTo>
                    <a:pt x="367" y="163"/>
                    <a:pt x="367" y="163"/>
                    <a:pt x="367" y="163"/>
                  </a:cubicBezTo>
                  <a:cubicBezTo>
                    <a:pt x="368" y="163"/>
                    <a:pt x="368" y="163"/>
                    <a:pt x="368" y="163"/>
                  </a:cubicBezTo>
                  <a:cubicBezTo>
                    <a:pt x="374" y="167"/>
                    <a:pt x="382" y="168"/>
                    <a:pt x="390" y="168"/>
                  </a:cubicBezTo>
                  <a:cubicBezTo>
                    <a:pt x="398" y="168"/>
                    <a:pt x="406" y="167"/>
                    <a:pt x="413" y="163"/>
                  </a:cubicBezTo>
                  <a:cubicBezTo>
                    <a:pt x="695" y="0"/>
                    <a:pt x="695" y="0"/>
                    <a:pt x="695" y="0"/>
                  </a:cubicBezTo>
                  <a:cubicBezTo>
                    <a:pt x="768" y="42"/>
                    <a:pt x="768" y="42"/>
                    <a:pt x="768" y="42"/>
                  </a:cubicBezTo>
                  <a:cubicBezTo>
                    <a:pt x="773" y="45"/>
                    <a:pt x="776" y="49"/>
                    <a:pt x="778" y="54"/>
                  </a:cubicBezTo>
                  <a:cubicBezTo>
                    <a:pt x="780" y="59"/>
                    <a:pt x="780" y="64"/>
                    <a:pt x="778" y="7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319" name="Freeform 318"/>
          <p:cNvSpPr/>
          <p:nvPr userDrawn="1"/>
        </p:nvSpPr>
        <p:spPr bwMode="auto">
          <a:xfrm>
            <a:off x="7156342" y="2172998"/>
            <a:ext cx="1330569" cy="1330196"/>
          </a:xfrm>
          <a:custGeom>
            <a:avLst/>
            <a:gdLst>
              <a:gd name="connsiteX0" fmla="*/ 2846107 w 2846107"/>
              <a:gd name="connsiteY0" fmla="*/ 1526447 h 2845712"/>
              <a:gd name="connsiteX1" fmla="*/ 2844123 w 2846107"/>
              <a:gd name="connsiteY1" fmla="*/ 1565744 h 2845712"/>
              <a:gd name="connsiteX2" fmla="*/ 1425742 w 2846107"/>
              <a:gd name="connsiteY2" fmla="*/ 2845712 h 2845712"/>
              <a:gd name="connsiteX3" fmla="*/ 1138405 w 2846107"/>
              <a:gd name="connsiteY3" fmla="*/ 2816746 h 2845712"/>
              <a:gd name="connsiteX4" fmla="*/ 1045028 w 2846107"/>
              <a:gd name="connsiteY4" fmla="*/ 2792736 h 2845712"/>
              <a:gd name="connsiteX5" fmla="*/ 1505920 w 2846107"/>
              <a:gd name="connsiteY5" fmla="*/ 1526448 h 2845712"/>
              <a:gd name="connsiteX6" fmla="*/ 1540042 w 2846107"/>
              <a:gd name="connsiteY6" fmla="*/ 1526449 h 2845712"/>
              <a:gd name="connsiteX7" fmla="*/ 1540042 w 2846107"/>
              <a:gd name="connsiteY7" fmla="*/ 1526448 h 2845712"/>
              <a:gd name="connsiteX8" fmla="*/ 1311441 w 2846107"/>
              <a:gd name="connsiteY8" fmla="*/ 0 h 2845712"/>
              <a:gd name="connsiteX9" fmla="*/ 1311442 w 2846107"/>
              <a:gd name="connsiteY9" fmla="*/ 1297847 h 2845712"/>
              <a:gd name="connsiteX10" fmla="*/ 1311442 w 2846107"/>
              <a:gd name="connsiteY10" fmla="*/ 1392388 h 2845712"/>
              <a:gd name="connsiteX11" fmla="*/ 830345 w 2846107"/>
              <a:gd name="connsiteY11" fmla="*/ 2714192 h 2845712"/>
              <a:gd name="connsiteX12" fmla="*/ 746149 w 2846107"/>
              <a:gd name="connsiteY12" fmla="*/ 2673633 h 2845712"/>
              <a:gd name="connsiteX13" fmla="*/ 0 w 2846107"/>
              <a:gd name="connsiteY13" fmla="*/ 1419970 h 2845712"/>
              <a:gd name="connsiteX14" fmla="*/ 1279968 w 2846107"/>
              <a:gd name="connsiteY14" fmla="*/ 1589 h 2845712"/>
              <a:gd name="connsiteX15" fmla="*/ 1540042 w 2846107"/>
              <a:gd name="connsiteY15" fmla="*/ 0 h 2845712"/>
              <a:gd name="connsiteX16" fmla="*/ 1571516 w 2846107"/>
              <a:gd name="connsiteY16" fmla="*/ 1589 h 2845712"/>
              <a:gd name="connsiteX17" fmla="*/ 2844123 w 2846107"/>
              <a:gd name="connsiteY17" fmla="*/ 1274196 h 2845712"/>
              <a:gd name="connsiteX18" fmla="*/ 2845317 w 2846107"/>
              <a:gd name="connsiteY18" fmla="*/ 1297848 h 2845712"/>
              <a:gd name="connsiteX19" fmla="*/ 1540042 w 2846107"/>
              <a:gd name="connsiteY19" fmla="*/ 1297847 h 284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46107" h="2845712">
                <a:moveTo>
                  <a:pt x="2846107" y="1526447"/>
                </a:moveTo>
                <a:lnTo>
                  <a:pt x="2844123" y="1565744"/>
                </a:lnTo>
                <a:cubicBezTo>
                  <a:pt x="2771111" y="2284684"/>
                  <a:pt x="2163945" y="2845712"/>
                  <a:pt x="1425742" y="2845712"/>
                </a:cubicBezTo>
                <a:cubicBezTo>
                  <a:pt x="1327315" y="2845712"/>
                  <a:pt x="1231218" y="2835738"/>
                  <a:pt x="1138405" y="2816746"/>
                </a:cubicBezTo>
                <a:lnTo>
                  <a:pt x="1045028" y="2792736"/>
                </a:lnTo>
                <a:lnTo>
                  <a:pt x="1505920" y="1526448"/>
                </a:lnTo>
                <a:lnTo>
                  <a:pt x="1540042" y="1526449"/>
                </a:lnTo>
                <a:lnTo>
                  <a:pt x="1540042" y="1526448"/>
                </a:lnTo>
                <a:close/>
                <a:moveTo>
                  <a:pt x="1311441" y="0"/>
                </a:moveTo>
                <a:lnTo>
                  <a:pt x="1311442" y="1297847"/>
                </a:lnTo>
                <a:lnTo>
                  <a:pt x="1311442" y="1392388"/>
                </a:lnTo>
                <a:lnTo>
                  <a:pt x="830345" y="2714192"/>
                </a:lnTo>
                <a:lnTo>
                  <a:pt x="746149" y="2673633"/>
                </a:lnTo>
                <a:cubicBezTo>
                  <a:pt x="301709" y="2432199"/>
                  <a:pt x="0" y="1961319"/>
                  <a:pt x="0" y="1419970"/>
                </a:cubicBezTo>
                <a:cubicBezTo>
                  <a:pt x="0" y="681768"/>
                  <a:pt x="561029" y="74601"/>
                  <a:pt x="1279968" y="1589"/>
                </a:cubicBezTo>
                <a:close/>
                <a:moveTo>
                  <a:pt x="1540042" y="0"/>
                </a:moveTo>
                <a:lnTo>
                  <a:pt x="1571516" y="1589"/>
                </a:lnTo>
                <a:cubicBezTo>
                  <a:pt x="2242526" y="69734"/>
                  <a:pt x="2775978" y="603186"/>
                  <a:pt x="2844123" y="1274196"/>
                </a:cubicBezTo>
                <a:lnTo>
                  <a:pt x="2845317" y="1297848"/>
                </a:lnTo>
                <a:lnTo>
                  <a:pt x="1540042" y="129784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20" name="Group 319"/>
          <p:cNvGrpSpPr/>
          <p:nvPr userDrawn="1"/>
        </p:nvGrpSpPr>
        <p:grpSpPr>
          <a:xfrm flipH="1">
            <a:off x="4471907" y="4257150"/>
            <a:ext cx="940591" cy="945601"/>
            <a:chOff x="7736253" y="500448"/>
            <a:chExt cx="1746321" cy="1755869"/>
          </a:xfrm>
          <a:solidFill>
            <a:schemeClr val="bg1">
              <a:lumMod val="85000"/>
            </a:schemeClr>
          </a:solidFill>
        </p:grpSpPr>
        <p:sp>
          <p:nvSpPr>
            <p:cNvPr id="321" name="Freeform 36"/>
            <p:cNvSpPr>
              <a:spLocks noEditPoints="1"/>
            </p:cNvSpPr>
            <p:nvPr/>
          </p:nvSpPr>
          <p:spPr bwMode="auto">
            <a:xfrm rot="1977938">
              <a:off x="7736253" y="500448"/>
              <a:ext cx="1746321" cy="1755869"/>
            </a:xfrm>
            <a:custGeom>
              <a:avLst/>
              <a:gdLst>
                <a:gd name="T0" fmla="*/ 69 w 77"/>
                <a:gd name="T1" fmla="*/ 36 h 77"/>
                <a:gd name="T2" fmla="*/ 65 w 77"/>
                <a:gd name="T3" fmla="*/ 33 h 77"/>
                <a:gd name="T4" fmla="*/ 66 w 77"/>
                <a:gd name="T5" fmla="*/ 25 h 77"/>
                <a:gd name="T6" fmla="*/ 71 w 77"/>
                <a:gd name="T7" fmla="*/ 17 h 77"/>
                <a:gd name="T8" fmla="*/ 64 w 77"/>
                <a:gd name="T9" fmla="*/ 12 h 77"/>
                <a:gd name="T10" fmla="*/ 54 w 77"/>
                <a:gd name="T11" fmla="*/ 16 h 77"/>
                <a:gd name="T12" fmla="*/ 48 w 77"/>
                <a:gd name="T13" fmla="*/ 10 h 77"/>
                <a:gd name="T14" fmla="*/ 47 w 77"/>
                <a:gd name="T15" fmla="*/ 1 h 77"/>
                <a:gd name="T16" fmla="*/ 38 w 77"/>
                <a:gd name="T17" fmla="*/ 2 h 77"/>
                <a:gd name="T18" fmla="*/ 34 w 77"/>
                <a:gd name="T19" fmla="*/ 12 h 77"/>
                <a:gd name="T20" fmla="*/ 26 w 77"/>
                <a:gd name="T21" fmla="*/ 12 h 77"/>
                <a:gd name="T22" fmla="*/ 18 w 77"/>
                <a:gd name="T23" fmla="*/ 6 h 77"/>
                <a:gd name="T24" fmla="*/ 13 w 77"/>
                <a:gd name="T25" fmla="*/ 13 h 77"/>
                <a:gd name="T26" fmla="*/ 17 w 77"/>
                <a:gd name="T27" fmla="*/ 23 h 77"/>
                <a:gd name="T28" fmla="*/ 15 w 77"/>
                <a:gd name="T29" fmla="*/ 26 h 77"/>
                <a:gd name="T30" fmla="*/ 11 w 77"/>
                <a:gd name="T31" fmla="*/ 29 h 77"/>
                <a:gd name="T32" fmla="*/ 1 w 77"/>
                <a:gd name="T33" fmla="*/ 31 h 77"/>
                <a:gd name="T34" fmla="*/ 3 w 77"/>
                <a:gd name="T35" fmla="*/ 39 h 77"/>
                <a:gd name="T36" fmla="*/ 13 w 77"/>
                <a:gd name="T37" fmla="*/ 44 h 77"/>
                <a:gd name="T38" fmla="*/ 13 w 77"/>
                <a:gd name="T39" fmla="*/ 47 h 77"/>
                <a:gd name="T40" fmla="*/ 12 w 77"/>
                <a:gd name="T41" fmla="*/ 52 h 77"/>
                <a:gd name="T42" fmla="*/ 7 w 77"/>
                <a:gd name="T43" fmla="*/ 60 h 77"/>
                <a:gd name="T44" fmla="*/ 14 w 77"/>
                <a:gd name="T45" fmla="*/ 64 h 77"/>
                <a:gd name="T46" fmla="*/ 24 w 77"/>
                <a:gd name="T47" fmla="*/ 61 h 77"/>
                <a:gd name="T48" fmla="*/ 27 w 77"/>
                <a:gd name="T49" fmla="*/ 62 h 77"/>
                <a:gd name="T50" fmla="*/ 29 w 77"/>
                <a:gd name="T51" fmla="*/ 67 h 77"/>
                <a:gd name="T52" fmla="*/ 31 w 77"/>
                <a:gd name="T53" fmla="*/ 76 h 77"/>
                <a:gd name="T54" fmla="*/ 39 w 77"/>
                <a:gd name="T55" fmla="*/ 75 h 77"/>
                <a:gd name="T56" fmla="*/ 44 w 77"/>
                <a:gd name="T57" fmla="*/ 65 h 77"/>
                <a:gd name="T58" fmla="*/ 48 w 77"/>
                <a:gd name="T59" fmla="*/ 64 h 77"/>
                <a:gd name="T60" fmla="*/ 52 w 77"/>
                <a:gd name="T61" fmla="*/ 65 h 77"/>
                <a:gd name="T62" fmla="*/ 60 w 77"/>
                <a:gd name="T63" fmla="*/ 70 h 77"/>
                <a:gd name="T64" fmla="*/ 65 w 77"/>
                <a:gd name="T65" fmla="*/ 64 h 77"/>
                <a:gd name="T66" fmla="*/ 61 w 77"/>
                <a:gd name="T67" fmla="*/ 53 h 77"/>
                <a:gd name="T68" fmla="*/ 63 w 77"/>
                <a:gd name="T69" fmla="*/ 50 h 77"/>
                <a:gd name="T70" fmla="*/ 67 w 77"/>
                <a:gd name="T71" fmla="*/ 48 h 77"/>
                <a:gd name="T72" fmla="*/ 77 w 77"/>
                <a:gd name="T73" fmla="*/ 46 h 77"/>
                <a:gd name="T74" fmla="*/ 75 w 77"/>
                <a:gd name="T75" fmla="*/ 38 h 77"/>
                <a:gd name="T76" fmla="*/ 25 w 77"/>
                <a:gd name="T77" fmla="*/ 37 h 77"/>
                <a:gd name="T78" fmla="*/ 53 w 77"/>
                <a:gd name="T79"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77">
                  <a:moveTo>
                    <a:pt x="75" y="38"/>
                  </a:moveTo>
                  <a:cubicBezTo>
                    <a:pt x="69" y="36"/>
                    <a:pt x="69" y="36"/>
                    <a:pt x="69" y="36"/>
                  </a:cubicBezTo>
                  <a:cubicBezTo>
                    <a:pt x="66" y="36"/>
                    <a:pt x="66" y="34"/>
                    <a:pt x="65" y="33"/>
                  </a:cubicBezTo>
                  <a:cubicBezTo>
                    <a:pt x="65" y="33"/>
                    <a:pt x="65" y="33"/>
                    <a:pt x="65" y="33"/>
                  </a:cubicBezTo>
                  <a:cubicBezTo>
                    <a:pt x="65" y="32"/>
                    <a:pt x="65" y="31"/>
                    <a:pt x="64" y="30"/>
                  </a:cubicBezTo>
                  <a:cubicBezTo>
                    <a:pt x="64" y="28"/>
                    <a:pt x="64" y="27"/>
                    <a:pt x="66" y="25"/>
                  </a:cubicBezTo>
                  <a:cubicBezTo>
                    <a:pt x="71" y="20"/>
                    <a:pt x="71" y="20"/>
                    <a:pt x="71" y="20"/>
                  </a:cubicBezTo>
                  <a:cubicBezTo>
                    <a:pt x="72" y="19"/>
                    <a:pt x="72" y="18"/>
                    <a:pt x="71" y="17"/>
                  </a:cubicBezTo>
                  <a:cubicBezTo>
                    <a:pt x="68" y="13"/>
                    <a:pt x="68" y="13"/>
                    <a:pt x="68" y="13"/>
                  </a:cubicBezTo>
                  <a:cubicBezTo>
                    <a:pt x="67" y="12"/>
                    <a:pt x="66" y="12"/>
                    <a:pt x="64" y="12"/>
                  </a:cubicBezTo>
                  <a:cubicBezTo>
                    <a:pt x="59" y="16"/>
                    <a:pt x="59" y="16"/>
                    <a:pt x="59" y="16"/>
                  </a:cubicBezTo>
                  <a:cubicBezTo>
                    <a:pt x="57" y="17"/>
                    <a:pt x="55" y="17"/>
                    <a:pt x="54" y="16"/>
                  </a:cubicBezTo>
                  <a:cubicBezTo>
                    <a:pt x="53" y="15"/>
                    <a:pt x="52" y="15"/>
                    <a:pt x="50" y="14"/>
                  </a:cubicBezTo>
                  <a:cubicBezTo>
                    <a:pt x="49" y="13"/>
                    <a:pt x="48" y="12"/>
                    <a:pt x="48" y="10"/>
                  </a:cubicBezTo>
                  <a:cubicBezTo>
                    <a:pt x="49" y="3"/>
                    <a:pt x="49" y="3"/>
                    <a:pt x="49" y="3"/>
                  </a:cubicBezTo>
                  <a:cubicBezTo>
                    <a:pt x="49" y="2"/>
                    <a:pt x="48" y="1"/>
                    <a:pt x="47" y="1"/>
                  </a:cubicBezTo>
                  <a:cubicBezTo>
                    <a:pt x="41" y="0"/>
                    <a:pt x="41" y="0"/>
                    <a:pt x="41" y="0"/>
                  </a:cubicBezTo>
                  <a:cubicBezTo>
                    <a:pt x="40" y="0"/>
                    <a:pt x="39" y="1"/>
                    <a:pt x="38" y="2"/>
                  </a:cubicBezTo>
                  <a:cubicBezTo>
                    <a:pt x="37" y="9"/>
                    <a:pt x="37" y="9"/>
                    <a:pt x="37" y="9"/>
                  </a:cubicBezTo>
                  <a:cubicBezTo>
                    <a:pt x="36" y="11"/>
                    <a:pt x="35" y="12"/>
                    <a:pt x="34" y="12"/>
                  </a:cubicBezTo>
                  <a:cubicBezTo>
                    <a:pt x="33" y="12"/>
                    <a:pt x="31" y="13"/>
                    <a:pt x="30" y="13"/>
                  </a:cubicBezTo>
                  <a:cubicBezTo>
                    <a:pt x="29" y="13"/>
                    <a:pt x="27" y="13"/>
                    <a:pt x="26" y="12"/>
                  </a:cubicBezTo>
                  <a:cubicBezTo>
                    <a:pt x="21" y="7"/>
                    <a:pt x="21" y="7"/>
                    <a:pt x="21" y="7"/>
                  </a:cubicBezTo>
                  <a:cubicBezTo>
                    <a:pt x="20" y="6"/>
                    <a:pt x="18" y="6"/>
                    <a:pt x="18" y="6"/>
                  </a:cubicBezTo>
                  <a:cubicBezTo>
                    <a:pt x="13" y="10"/>
                    <a:pt x="13" y="10"/>
                    <a:pt x="13" y="10"/>
                  </a:cubicBezTo>
                  <a:cubicBezTo>
                    <a:pt x="13" y="10"/>
                    <a:pt x="12" y="12"/>
                    <a:pt x="13" y="13"/>
                  </a:cubicBezTo>
                  <a:cubicBezTo>
                    <a:pt x="16" y="19"/>
                    <a:pt x="16" y="19"/>
                    <a:pt x="16" y="19"/>
                  </a:cubicBezTo>
                  <a:cubicBezTo>
                    <a:pt x="18" y="21"/>
                    <a:pt x="17" y="22"/>
                    <a:pt x="17" y="23"/>
                  </a:cubicBezTo>
                  <a:cubicBezTo>
                    <a:pt x="17" y="23"/>
                    <a:pt x="17" y="23"/>
                    <a:pt x="17" y="24"/>
                  </a:cubicBezTo>
                  <a:cubicBezTo>
                    <a:pt x="16" y="24"/>
                    <a:pt x="15" y="25"/>
                    <a:pt x="15" y="26"/>
                  </a:cubicBezTo>
                  <a:cubicBezTo>
                    <a:pt x="15" y="26"/>
                    <a:pt x="15" y="27"/>
                    <a:pt x="15" y="27"/>
                  </a:cubicBezTo>
                  <a:cubicBezTo>
                    <a:pt x="14" y="28"/>
                    <a:pt x="13" y="29"/>
                    <a:pt x="11" y="29"/>
                  </a:cubicBezTo>
                  <a:cubicBezTo>
                    <a:pt x="4" y="29"/>
                    <a:pt x="4" y="29"/>
                    <a:pt x="4" y="29"/>
                  </a:cubicBezTo>
                  <a:cubicBezTo>
                    <a:pt x="3" y="29"/>
                    <a:pt x="1" y="30"/>
                    <a:pt x="1" y="31"/>
                  </a:cubicBezTo>
                  <a:cubicBezTo>
                    <a:pt x="1" y="36"/>
                    <a:pt x="1" y="36"/>
                    <a:pt x="1" y="36"/>
                  </a:cubicBezTo>
                  <a:cubicBezTo>
                    <a:pt x="0" y="37"/>
                    <a:pt x="1" y="38"/>
                    <a:pt x="3" y="39"/>
                  </a:cubicBezTo>
                  <a:cubicBezTo>
                    <a:pt x="9" y="40"/>
                    <a:pt x="9" y="40"/>
                    <a:pt x="9" y="40"/>
                  </a:cubicBezTo>
                  <a:cubicBezTo>
                    <a:pt x="12" y="41"/>
                    <a:pt x="12" y="42"/>
                    <a:pt x="13" y="44"/>
                  </a:cubicBezTo>
                  <a:cubicBezTo>
                    <a:pt x="13" y="44"/>
                    <a:pt x="13" y="44"/>
                    <a:pt x="13" y="44"/>
                  </a:cubicBezTo>
                  <a:cubicBezTo>
                    <a:pt x="13" y="45"/>
                    <a:pt x="13" y="46"/>
                    <a:pt x="13" y="47"/>
                  </a:cubicBezTo>
                  <a:cubicBezTo>
                    <a:pt x="13" y="47"/>
                    <a:pt x="13" y="47"/>
                    <a:pt x="13" y="47"/>
                  </a:cubicBezTo>
                  <a:cubicBezTo>
                    <a:pt x="14" y="48"/>
                    <a:pt x="14" y="50"/>
                    <a:pt x="12" y="52"/>
                  </a:cubicBezTo>
                  <a:cubicBezTo>
                    <a:pt x="7" y="56"/>
                    <a:pt x="7" y="56"/>
                    <a:pt x="7" y="56"/>
                  </a:cubicBezTo>
                  <a:cubicBezTo>
                    <a:pt x="6" y="57"/>
                    <a:pt x="6" y="59"/>
                    <a:pt x="7" y="60"/>
                  </a:cubicBezTo>
                  <a:cubicBezTo>
                    <a:pt x="10" y="64"/>
                    <a:pt x="10" y="64"/>
                    <a:pt x="10" y="64"/>
                  </a:cubicBezTo>
                  <a:cubicBezTo>
                    <a:pt x="11" y="65"/>
                    <a:pt x="12" y="65"/>
                    <a:pt x="14" y="64"/>
                  </a:cubicBezTo>
                  <a:cubicBezTo>
                    <a:pt x="19" y="61"/>
                    <a:pt x="19" y="61"/>
                    <a:pt x="19" y="61"/>
                  </a:cubicBezTo>
                  <a:cubicBezTo>
                    <a:pt x="21" y="60"/>
                    <a:pt x="23" y="60"/>
                    <a:pt x="24" y="61"/>
                  </a:cubicBezTo>
                  <a:cubicBezTo>
                    <a:pt x="24" y="61"/>
                    <a:pt x="24" y="61"/>
                    <a:pt x="24" y="61"/>
                  </a:cubicBezTo>
                  <a:cubicBezTo>
                    <a:pt x="25" y="61"/>
                    <a:pt x="26" y="62"/>
                    <a:pt x="27" y="62"/>
                  </a:cubicBezTo>
                  <a:cubicBezTo>
                    <a:pt x="27" y="62"/>
                    <a:pt x="27" y="63"/>
                    <a:pt x="27" y="63"/>
                  </a:cubicBezTo>
                  <a:cubicBezTo>
                    <a:pt x="28" y="63"/>
                    <a:pt x="29" y="64"/>
                    <a:pt x="29" y="67"/>
                  </a:cubicBezTo>
                  <a:cubicBezTo>
                    <a:pt x="29" y="73"/>
                    <a:pt x="29" y="73"/>
                    <a:pt x="29" y="73"/>
                  </a:cubicBezTo>
                  <a:cubicBezTo>
                    <a:pt x="29" y="75"/>
                    <a:pt x="30" y="76"/>
                    <a:pt x="31" y="76"/>
                  </a:cubicBezTo>
                  <a:cubicBezTo>
                    <a:pt x="37" y="77"/>
                    <a:pt x="37" y="77"/>
                    <a:pt x="37" y="77"/>
                  </a:cubicBezTo>
                  <a:cubicBezTo>
                    <a:pt x="38" y="77"/>
                    <a:pt x="39" y="76"/>
                    <a:pt x="39" y="75"/>
                  </a:cubicBezTo>
                  <a:cubicBezTo>
                    <a:pt x="41" y="68"/>
                    <a:pt x="41" y="68"/>
                    <a:pt x="41" y="68"/>
                  </a:cubicBezTo>
                  <a:cubicBezTo>
                    <a:pt x="42" y="66"/>
                    <a:pt x="43" y="65"/>
                    <a:pt x="44" y="65"/>
                  </a:cubicBezTo>
                  <a:cubicBezTo>
                    <a:pt x="44" y="65"/>
                    <a:pt x="44" y="65"/>
                    <a:pt x="44" y="65"/>
                  </a:cubicBezTo>
                  <a:cubicBezTo>
                    <a:pt x="45" y="64"/>
                    <a:pt x="47" y="64"/>
                    <a:pt x="48" y="64"/>
                  </a:cubicBezTo>
                  <a:cubicBezTo>
                    <a:pt x="48" y="64"/>
                    <a:pt x="48" y="64"/>
                    <a:pt x="48" y="64"/>
                  </a:cubicBezTo>
                  <a:cubicBezTo>
                    <a:pt x="49" y="63"/>
                    <a:pt x="50" y="63"/>
                    <a:pt x="52" y="65"/>
                  </a:cubicBezTo>
                  <a:cubicBezTo>
                    <a:pt x="57" y="70"/>
                    <a:pt x="57" y="70"/>
                    <a:pt x="57" y="70"/>
                  </a:cubicBezTo>
                  <a:cubicBezTo>
                    <a:pt x="58" y="71"/>
                    <a:pt x="59" y="71"/>
                    <a:pt x="60" y="70"/>
                  </a:cubicBezTo>
                  <a:cubicBezTo>
                    <a:pt x="65" y="67"/>
                    <a:pt x="65" y="67"/>
                    <a:pt x="65" y="67"/>
                  </a:cubicBezTo>
                  <a:cubicBezTo>
                    <a:pt x="65" y="66"/>
                    <a:pt x="66" y="65"/>
                    <a:pt x="65" y="64"/>
                  </a:cubicBezTo>
                  <a:cubicBezTo>
                    <a:pt x="61" y="58"/>
                    <a:pt x="61" y="58"/>
                    <a:pt x="61" y="58"/>
                  </a:cubicBezTo>
                  <a:cubicBezTo>
                    <a:pt x="60" y="56"/>
                    <a:pt x="61" y="54"/>
                    <a:pt x="61" y="53"/>
                  </a:cubicBezTo>
                  <a:cubicBezTo>
                    <a:pt x="61" y="53"/>
                    <a:pt x="61" y="53"/>
                    <a:pt x="61" y="53"/>
                  </a:cubicBezTo>
                  <a:cubicBezTo>
                    <a:pt x="62" y="52"/>
                    <a:pt x="63" y="51"/>
                    <a:pt x="63" y="50"/>
                  </a:cubicBezTo>
                  <a:cubicBezTo>
                    <a:pt x="63" y="50"/>
                    <a:pt x="63" y="50"/>
                    <a:pt x="63" y="50"/>
                  </a:cubicBezTo>
                  <a:cubicBezTo>
                    <a:pt x="64" y="49"/>
                    <a:pt x="65" y="48"/>
                    <a:pt x="67" y="48"/>
                  </a:cubicBezTo>
                  <a:cubicBezTo>
                    <a:pt x="74" y="48"/>
                    <a:pt x="74" y="48"/>
                    <a:pt x="74" y="48"/>
                  </a:cubicBezTo>
                  <a:cubicBezTo>
                    <a:pt x="75" y="48"/>
                    <a:pt x="77" y="47"/>
                    <a:pt x="77" y="46"/>
                  </a:cubicBezTo>
                  <a:cubicBezTo>
                    <a:pt x="77" y="40"/>
                    <a:pt x="77" y="40"/>
                    <a:pt x="77" y="40"/>
                  </a:cubicBezTo>
                  <a:cubicBezTo>
                    <a:pt x="77" y="40"/>
                    <a:pt x="77" y="38"/>
                    <a:pt x="75" y="38"/>
                  </a:cubicBezTo>
                  <a:close/>
                  <a:moveTo>
                    <a:pt x="37" y="52"/>
                  </a:moveTo>
                  <a:cubicBezTo>
                    <a:pt x="29" y="51"/>
                    <a:pt x="24" y="44"/>
                    <a:pt x="25" y="37"/>
                  </a:cubicBezTo>
                  <a:cubicBezTo>
                    <a:pt x="26" y="29"/>
                    <a:pt x="33" y="23"/>
                    <a:pt x="41" y="24"/>
                  </a:cubicBezTo>
                  <a:cubicBezTo>
                    <a:pt x="48" y="25"/>
                    <a:pt x="54" y="32"/>
                    <a:pt x="53" y="40"/>
                  </a:cubicBezTo>
                  <a:cubicBezTo>
                    <a:pt x="52" y="48"/>
                    <a:pt x="45" y="53"/>
                    <a:pt x="37" y="5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22" name="Oval 321"/>
            <p:cNvSpPr/>
            <p:nvPr/>
          </p:nvSpPr>
          <p:spPr bwMode="auto">
            <a:xfrm>
              <a:off x="8433675" y="1202644"/>
              <a:ext cx="351476" cy="35147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23" name="Group 322"/>
          <p:cNvGrpSpPr/>
          <p:nvPr userDrawn="1"/>
        </p:nvGrpSpPr>
        <p:grpSpPr>
          <a:xfrm>
            <a:off x="6403413" y="3460741"/>
            <a:ext cx="827571" cy="810215"/>
            <a:chOff x="909638" y="-1014413"/>
            <a:chExt cx="762000" cy="746125"/>
          </a:xfrm>
          <a:solidFill>
            <a:schemeClr val="bg1">
              <a:lumMod val="85000"/>
            </a:schemeClr>
          </a:solidFill>
        </p:grpSpPr>
        <p:sp>
          <p:nvSpPr>
            <p:cNvPr id="324" name="Freeform 88"/>
            <p:cNvSpPr>
              <a:spLocks/>
            </p:cNvSpPr>
            <p:nvPr/>
          </p:nvSpPr>
          <p:spPr bwMode="auto">
            <a:xfrm>
              <a:off x="909638" y="-1014413"/>
              <a:ext cx="762000" cy="746125"/>
            </a:xfrm>
            <a:custGeom>
              <a:avLst/>
              <a:gdLst>
                <a:gd name="T0" fmla="*/ 189 w 200"/>
                <a:gd name="T1" fmla="*/ 174 h 196"/>
                <a:gd name="T2" fmla="*/ 22 w 200"/>
                <a:gd name="T3" fmla="*/ 174 h 196"/>
                <a:gd name="T4" fmla="*/ 22 w 200"/>
                <a:gd name="T5" fmla="*/ 11 h 196"/>
                <a:gd name="T6" fmla="*/ 11 w 200"/>
                <a:gd name="T7" fmla="*/ 0 h 196"/>
                <a:gd name="T8" fmla="*/ 0 w 200"/>
                <a:gd name="T9" fmla="*/ 11 h 196"/>
                <a:gd name="T10" fmla="*/ 0 w 200"/>
                <a:gd name="T11" fmla="*/ 185 h 196"/>
                <a:gd name="T12" fmla="*/ 11 w 200"/>
                <a:gd name="T13" fmla="*/ 196 h 196"/>
                <a:gd name="T14" fmla="*/ 189 w 200"/>
                <a:gd name="T15" fmla="*/ 196 h 196"/>
                <a:gd name="T16" fmla="*/ 200 w 200"/>
                <a:gd name="T17" fmla="*/ 185 h 196"/>
                <a:gd name="T18" fmla="*/ 189 w 200"/>
                <a:gd name="T19" fmla="*/ 17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0" h="196">
                  <a:moveTo>
                    <a:pt x="189" y="174"/>
                  </a:moveTo>
                  <a:cubicBezTo>
                    <a:pt x="22" y="174"/>
                    <a:pt x="22" y="174"/>
                    <a:pt x="22" y="174"/>
                  </a:cubicBezTo>
                  <a:cubicBezTo>
                    <a:pt x="22" y="11"/>
                    <a:pt x="22" y="11"/>
                    <a:pt x="22" y="11"/>
                  </a:cubicBezTo>
                  <a:cubicBezTo>
                    <a:pt x="22" y="5"/>
                    <a:pt x="17" y="0"/>
                    <a:pt x="11" y="0"/>
                  </a:cubicBezTo>
                  <a:cubicBezTo>
                    <a:pt x="5" y="0"/>
                    <a:pt x="0" y="5"/>
                    <a:pt x="0" y="11"/>
                  </a:cubicBezTo>
                  <a:cubicBezTo>
                    <a:pt x="0" y="185"/>
                    <a:pt x="0" y="185"/>
                    <a:pt x="0" y="185"/>
                  </a:cubicBezTo>
                  <a:cubicBezTo>
                    <a:pt x="0" y="191"/>
                    <a:pt x="5" y="196"/>
                    <a:pt x="11" y="196"/>
                  </a:cubicBezTo>
                  <a:cubicBezTo>
                    <a:pt x="189" y="196"/>
                    <a:pt x="189" y="196"/>
                    <a:pt x="189" y="196"/>
                  </a:cubicBezTo>
                  <a:cubicBezTo>
                    <a:pt x="195" y="196"/>
                    <a:pt x="200" y="191"/>
                    <a:pt x="200" y="185"/>
                  </a:cubicBezTo>
                  <a:cubicBezTo>
                    <a:pt x="200" y="179"/>
                    <a:pt x="195" y="174"/>
                    <a:pt x="189" y="17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25" name="Freeform 89"/>
            <p:cNvSpPr>
              <a:spLocks/>
            </p:cNvSpPr>
            <p:nvPr/>
          </p:nvSpPr>
          <p:spPr bwMode="auto">
            <a:xfrm>
              <a:off x="1023938" y="-823913"/>
              <a:ext cx="166688" cy="441325"/>
            </a:xfrm>
            <a:custGeom>
              <a:avLst/>
              <a:gdLst>
                <a:gd name="T0" fmla="*/ 7 w 44"/>
                <a:gd name="T1" fmla="*/ 116 h 116"/>
                <a:gd name="T2" fmla="*/ 36 w 44"/>
                <a:gd name="T3" fmla="*/ 116 h 116"/>
                <a:gd name="T4" fmla="*/ 44 w 44"/>
                <a:gd name="T5" fmla="*/ 109 h 116"/>
                <a:gd name="T6" fmla="*/ 44 w 44"/>
                <a:gd name="T7" fmla="*/ 7 h 116"/>
                <a:gd name="T8" fmla="*/ 36 w 44"/>
                <a:gd name="T9" fmla="*/ 0 h 116"/>
                <a:gd name="T10" fmla="*/ 7 w 44"/>
                <a:gd name="T11" fmla="*/ 0 h 116"/>
                <a:gd name="T12" fmla="*/ 0 w 44"/>
                <a:gd name="T13" fmla="*/ 7 h 116"/>
                <a:gd name="T14" fmla="*/ 0 w 44"/>
                <a:gd name="T15" fmla="*/ 109 h 116"/>
                <a:gd name="T16" fmla="*/ 7 w 44"/>
                <a:gd name="T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6">
                  <a:moveTo>
                    <a:pt x="7" y="116"/>
                  </a:moveTo>
                  <a:cubicBezTo>
                    <a:pt x="36" y="116"/>
                    <a:pt x="36" y="116"/>
                    <a:pt x="36" y="116"/>
                  </a:cubicBezTo>
                  <a:cubicBezTo>
                    <a:pt x="41" y="116"/>
                    <a:pt x="44" y="113"/>
                    <a:pt x="44" y="109"/>
                  </a:cubicBezTo>
                  <a:cubicBezTo>
                    <a:pt x="44" y="7"/>
                    <a:pt x="44" y="7"/>
                    <a:pt x="44" y="7"/>
                  </a:cubicBezTo>
                  <a:cubicBezTo>
                    <a:pt x="44" y="3"/>
                    <a:pt x="41" y="0"/>
                    <a:pt x="36" y="0"/>
                  </a:cubicBezTo>
                  <a:cubicBezTo>
                    <a:pt x="7" y="0"/>
                    <a:pt x="7" y="0"/>
                    <a:pt x="7" y="0"/>
                  </a:cubicBezTo>
                  <a:cubicBezTo>
                    <a:pt x="3" y="0"/>
                    <a:pt x="0" y="3"/>
                    <a:pt x="0" y="7"/>
                  </a:cubicBezTo>
                  <a:cubicBezTo>
                    <a:pt x="0" y="109"/>
                    <a:pt x="0" y="109"/>
                    <a:pt x="0" y="109"/>
                  </a:cubicBezTo>
                  <a:cubicBezTo>
                    <a:pt x="0" y="113"/>
                    <a:pt x="3" y="116"/>
                    <a:pt x="7" y="116"/>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26" name="Freeform 90"/>
            <p:cNvSpPr>
              <a:spLocks/>
            </p:cNvSpPr>
            <p:nvPr/>
          </p:nvSpPr>
          <p:spPr bwMode="auto">
            <a:xfrm>
              <a:off x="1241426" y="-965201"/>
              <a:ext cx="166688" cy="582613"/>
            </a:xfrm>
            <a:custGeom>
              <a:avLst/>
              <a:gdLst>
                <a:gd name="T0" fmla="*/ 8 w 44"/>
                <a:gd name="T1" fmla="*/ 153 h 153"/>
                <a:gd name="T2" fmla="*/ 37 w 44"/>
                <a:gd name="T3" fmla="*/ 153 h 153"/>
                <a:gd name="T4" fmla="*/ 44 w 44"/>
                <a:gd name="T5" fmla="*/ 146 h 153"/>
                <a:gd name="T6" fmla="*/ 44 w 44"/>
                <a:gd name="T7" fmla="*/ 7 h 153"/>
                <a:gd name="T8" fmla="*/ 37 w 44"/>
                <a:gd name="T9" fmla="*/ 0 h 153"/>
                <a:gd name="T10" fmla="*/ 8 w 44"/>
                <a:gd name="T11" fmla="*/ 0 h 153"/>
                <a:gd name="T12" fmla="*/ 0 w 44"/>
                <a:gd name="T13" fmla="*/ 7 h 153"/>
                <a:gd name="T14" fmla="*/ 0 w 44"/>
                <a:gd name="T15" fmla="*/ 146 h 153"/>
                <a:gd name="T16" fmla="*/ 8 w 44"/>
                <a:gd name="T1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53">
                  <a:moveTo>
                    <a:pt x="8" y="153"/>
                  </a:moveTo>
                  <a:cubicBezTo>
                    <a:pt x="37" y="153"/>
                    <a:pt x="37" y="153"/>
                    <a:pt x="37" y="153"/>
                  </a:cubicBezTo>
                  <a:cubicBezTo>
                    <a:pt x="41" y="153"/>
                    <a:pt x="44" y="150"/>
                    <a:pt x="44" y="146"/>
                  </a:cubicBezTo>
                  <a:cubicBezTo>
                    <a:pt x="44" y="7"/>
                    <a:pt x="44" y="7"/>
                    <a:pt x="44" y="7"/>
                  </a:cubicBezTo>
                  <a:cubicBezTo>
                    <a:pt x="44" y="3"/>
                    <a:pt x="41" y="0"/>
                    <a:pt x="37" y="0"/>
                  </a:cubicBezTo>
                  <a:cubicBezTo>
                    <a:pt x="8" y="0"/>
                    <a:pt x="8" y="0"/>
                    <a:pt x="8" y="0"/>
                  </a:cubicBezTo>
                  <a:cubicBezTo>
                    <a:pt x="3" y="0"/>
                    <a:pt x="0" y="3"/>
                    <a:pt x="0" y="7"/>
                  </a:cubicBezTo>
                  <a:cubicBezTo>
                    <a:pt x="0" y="146"/>
                    <a:pt x="0" y="146"/>
                    <a:pt x="0" y="146"/>
                  </a:cubicBezTo>
                  <a:cubicBezTo>
                    <a:pt x="0" y="150"/>
                    <a:pt x="3" y="153"/>
                    <a:pt x="8" y="153"/>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27" name="Freeform 91"/>
            <p:cNvSpPr>
              <a:spLocks/>
            </p:cNvSpPr>
            <p:nvPr/>
          </p:nvSpPr>
          <p:spPr bwMode="auto">
            <a:xfrm>
              <a:off x="1457326" y="-682626"/>
              <a:ext cx="168275" cy="300038"/>
            </a:xfrm>
            <a:custGeom>
              <a:avLst/>
              <a:gdLst>
                <a:gd name="T0" fmla="*/ 8 w 44"/>
                <a:gd name="T1" fmla="*/ 79 h 79"/>
                <a:gd name="T2" fmla="*/ 37 w 44"/>
                <a:gd name="T3" fmla="*/ 79 h 79"/>
                <a:gd name="T4" fmla="*/ 44 w 44"/>
                <a:gd name="T5" fmla="*/ 72 h 79"/>
                <a:gd name="T6" fmla="*/ 44 w 44"/>
                <a:gd name="T7" fmla="*/ 7 h 79"/>
                <a:gd name="T8" fmla="*/ 37 w 44"/>
                <a:gd name="T9" fmla="*/ 0 h 79"/>
                <a:gd name="T10" fmla="*/ 8 w 44"/>
                <a:gd name="T11" fmla="*/ 0 h 79"/>
                <a:gd name="T12" fmla="*/ 0 w 44"/>
                <a:gd name="T13" fmla="*/ 7 h 79"/>
                <a:gd name="T14" fmla="*/ 0 w 44"/>
                <a:gd name="T15" fmla="*/ 72 h 79"/>
                <a:gd name="T16" fmla="*/ 8 w 44"/>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9">
                  <a:moveTo>
                    <a:pt x="8" y="79"/>
                  </a:moveTo>
                  <a:cubicBezTo>
                    <a:pt x="37" y="79"/>
                    <a:pt x="37" y="79"/>
                    <a:pt x="37" y="79"/>
                  </a:cubicBezTo>
                  <a:cubicBezTo>
                    <a:pt x="41" y="79"/>
                    <a:pt x="44" y="76"/>
                    <a:pt x="44" y="72"/>
                  </a:cubicBezTo>
                  <a:cubicBezTo>
                    <a:pt x="44" y="7"/>
                    <a:pt x="44" y="7"/>
                    <a:pt x="44" y="7"/>
                  </a:cubicBezTo>
                  <a:cubicBezTo>
                    <a:pt x="44" y="3"/>
                    <a:pt x="41" y="0"/>
                    <a:pt x="37" y="0"/>
                  </a:cubicBezTo>
                  <a:cubicBezTo>
                    <a:pt x="8" y="0"/>
                    <a:pt x="8" y="0"/>
                    <a:pt x="8" y="0"/>
                  </a:cubicBezTo>
                  <a:cubicBezTo>
                    <a:pt x="4" y="0"/>
                    <a:pt x="0" y="3"/>
                    <a:pt x="0" y="7"/>
                  </a:cubicBezTo>
                  <a:cubicBezTo>
                    <a:pt x="0" y="72"/>
                    <a:pt x="0" y="72"/>
                    <a:pt x="0" y="72"/>
                  </a:cubicBezTo>
                  <a:cubicBezTo>
                    <a:pt x="0" y="76"/>
                    <a:pt x="4" y="79"/>
                    <a:pt x="8" y="79"/>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sp>
        <p:nvSpPr>
          <p:cNvPr id="328" name="Freeform 327"/>
          <p:cNvSpPr/>
          <p:nvPr userDrawn="1"/>
        </p:nvSpPr>
        <p:spPr bwMode="auto">
          <a:xfrm>
            <a:off x="7495648" y="1654061"/>
            <a:ext cx="317896" cy="317851"/>
          </a:xfrm>
          <a:custGeom>
            <a:avLst/>
            <a:gdLst>
              <a:gd name="connsiteX0" fmla="*/ 518647 w 1037293"/>
              <a:gd name="connsiteY0" fmla="*/ 154760 h 1037293"/>
              <a:gd name="connsiteX1" fmla="*/ 476753 w 1037293"/>
              <a:gd name="connsiteY1" fmla="*/ 191814 h 1037293"/>
              <a:gd name="connsiteX2" fmla="*/ 385350 w 1037293"/>
              <a:gd name="connsiteY2" fmla="*/ 374232 h 1037293"/>
              <a:gd name="connsiteX3" fmla="*/ 183501 w 1037293"/>
              <a:gd name="connsiteY3" fmla="*/ 400835 h 1037293"/>
              <a:gd name="connsiteX4" fmla="*/ 160650 w 1037293"/>
              <a:gd name="connsiteY4" fmla="*/ 480643 h 1037293"/>
              <a:gd name="connsiteX5" fmla="*/ 305372 w 1037293"/>
              <a:gd name="connsiteY5" fmla="*/ 621257 h 1037293"/>
              <a:gd name="connsiteX6" fmla="*/ 271096 w 1037293"/>
              <a:gd name="connsiteY6" fmla="*/ 822677 h 1037293"/>
              <a:gd name="connsiteX7" fmla="*/ 335840 w 1037293"/>
              <a:gd name="connsiteY7" fmla="*/ 872082 h 1037293"/>
              <a:gd name="connsiteX8" fmla="*/ 518647 w 1037293"/>
              <a:gd name="connsiteY8" fmla="*/ 777072 h 1037293"/>
              <a:gd name="connsiteX9" fmla="*/ 697645 w 1037293"/>
              <a:gd name="connsiteY9" fmla="*/ 872082 h 1037293"/>
              <a:gd name="connsiteX10" fmla="*/ 766198 w 1037293"/>
              <a:gd name="connsiteY10" fmla="*/ 822677 h 1037293"/>
              <a:gd name="connsiteX11" fmla="*/ 731921 w 1037293"/>
              <a:gd name="connsiteY11" fmla="*/ 621257 h 1037293"/>
              <a:gd name="connsiteX12" fmla="*/ 876643 w 1037293"/>
              <a:gd name="connsiteY12" fmla="*/ 480643 h 1037293"/>
              <a:gd name="connsiteX13" fmla="*/ 849984 w 1037293"/>
              <a:gd name="connsiteY13" fmla="*/ 400835 h 1037293"/>
              <a:gd name="connsiteX14" fmla="*/ 648135 w 1037293"/>
              <a:gd name="connsiteY14" fmla="*/ 374232 h 1037293"/>
              <a:gd name="connsiteX15" fmla="*/ 560540 w 1037293"/>
              <a:gd name="connsiteY15" fmla="*/ 191814 h 1037293"/>
              <a:gd name="connsiteX16" fmla="*/ 518647 w 1037293"/>
              <a:gd name="connsiteY16" fmla="*/ 154760 h 1037293"/>
              <a:gd name="connsiteX17" fmla="*/ 172886 w 1037293"/>
              <a:gd name="connsiteY17" fmla="*/ 0 h 1037293"/>
              <a:gd name="connsiteX18" fmla="*/ 864407 w 1037293"/>
              <a:gd name="connsiteY18" fmla="*/ 0 h 1037293"/>
              <a:gd name="connsiteX19" fmla="*/ 1037293 w 1037293"/>
              <a:gd name="connsiteY19" fmla="*/ 172886 h 1037293"/>
              <a:gd name="connsiteX20" fmla="*/ 1037293 w 1037293"/>
              <a:gd name="connsiteY20" fmla="*/ 864407 h 1037293"/>
              <a:gd name="connsiteX21" fmla="*/ 864407 w 1037293"/>
              <a:gd name="connsiteY21" fmla="*/ 1037293 h 1037293"/>
              <a:gd name="connsiteX22" fmla="*/ 172886 w 1037293"/>
              <a:gd name="connsiteY22" fmla="*/ 1037293 h 1037293"/>
              <a:gd name="connsiteX23" fmla="*/ 0 w 1037293"/>
              <a:gd name="connsiteY23" fmla="*/ 864407 h 1037293"/>
              <a:gd name="connsiteX24" fmla="*/ 0 w 1037293"/>
              <a:gd name="connsiteY24" fmla="*/ 172886 h 1037293"/>
              <a:gd name="connsiteX25" fmla="*/ 172886 w 1037293"/>
              <a:gd name="connsiteY25" fmla="*/ 0 h 1037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37293" h="1037293">
                <a:moveTo>
                  <a:pt x="518647" y="154760"/>
                </a:moveTo>
                <a:cubicBezTo>
                  <a:pt x="503413" y="154760"/>
                  <a:pt x="488179" y="167112"/>
                  <a:pt x="476753" y="191814"/>
                </a:cubicBezTo>
                <a:cubicBezTo>
                  <a:pt x="476753" y="191814"/>
                  <a:pt x="476753" y="191814"/>
                  <a:pt x="385350" y="374232"/>
                </a:cubicBezTo>
                <a:cubicBezTo>
                  <a:pt x="385350" y="374232"/>
                  <a:pt x="385350" y="374232"/>
                  <a:pt x="183501" y="400835"/>
                </a:cubicBezTo>
                <a:cubicBezTo>
                  <a:pt x="133991" y="408436"/>
                  <a:pt x="122565" y="446439"/>
                  <a:pt x="160650" y="480643"/>
                </a:cubicBezTo>
                <a:cubicBezTo>
                  <a:pt x="160650" y="480643"/>
                  <a:pt x="160650" y="480643"/>
                  <a:pt x="305372" y="621257"/>
                </a:cubicBezTo>
                <a:cubicBezTo>
                  <a:pt x="305372" y="621257"/>
                  <a:pt x="305372" y="621257"/>
                  <a:pt x="271096" y="822677"/>
                </a:cubicBezTo>
                <a:cubicBezTo>
                  <a:pt x="263479" y="875882"/>
                  <a:pt x="290138" y="894884"/>
                  <a:pt x="335840" y="872082"/>
                </a:cubicBezTo>
                <a:cubicBezTo>
                  <a:pt x="335840" y="872082"/>
                  <a:pt x="335840" y="872082"/>
                  <a:pt x="518647" y="777072"/>
                </a:cubicBezTo>
                <a:cubicBezTo>
                  <a:pt x="518647" y="777072"/>
                  <a:pt x="518647" y="777072"/>
                  <a:pt x="697645" y="872082"/>
                </a:cubicBezTo>
                <a:cubicBezTo>
                  <a:pt x="743347" y="894884"/>
                  <a:pt x="773815" y="875882"/>
                  <a:pt x="766198" y="822677"/>
                </a:cubicBezTo>
                <a:cubicBezTo>
                  <a:pt x="766198" y="822677"/>
                  <a:pt x="766198" y="822677"/>
                  <a:pt x="731921" y="621257"/>
                </a:cubicBezTo>
                <a:cubicBezTo>
                  <a:pt x="731921" y="621257"/>
                  <a:pt x="731921" y="621257"/>
                  <a:pt x="876643" y="480643"/>
                </a:cubicBezTo>
                <a:cubicBezTo>
                  <a:pt x="914728" y="446439"/>
                  <a:pt x="903303" y="408436"/>
                  <a:pt x="849984" y="400835"/>
                </a:cubicBezTo>
                <a:cubicBezTo>
                  <a:pt x="849984" y="400835"/>
                  <a:pt x="849984" y="400835"/>
                  <a:pt x="648135" y="374232"/>
                </a:cubicBezTo>
                <a:cubicBezTo>
                  <a:pt x="648135" y="374232"/>
                  <a:pt x="648135" y="374232"/>
                  <a:pt x="560540" y="191814"/>
                </a:cubicBezTo>
                <a:cubicBezTo>
                  <a:pt x="549115" y="167112"/>
                  <a:pt x="533881" y="154760"/>
                  <a:pt x="518647" y="154760"/>
                </a:cubicBezTo>
                <a:close/>
                <a:moveTo>
                  <a:pt x="172886" y="0"/>
                </a:moveTo>
                <a:lnTo>
                  <a:pt x="864407" y="0"/>
                </a:lnTo>
                <a:cubicBezTo>
                  <a:pt x="959889" y="0"/>
                  <a:pt x="1037293" y="77404"/>
                  <a:pt x="1037293" y="172886"/>
                </a:cubicBezTo>
                <a:lnTo>
                  <a:pt x="1037293" y="864407"/>
                </a:lnTo>
                <a:cubicBezTo>
                  <a:pt x="1037293" y="959889"/>
                  <a:pt x="959889" y="1037293"/>
                  <a:pt x="864407" y="1037293"/>
                </a:cubicBezTo>
                <a:lnTo>
                  <a:pt x="172886" y="1037293"/>
                </a:lnTo>
                <a:cubicBezTo>
                  <a:pt x="77404" y="1037293"/>
                  <a:pt x="0" y="959889"/>
                  <a:pt x="0" y="864407"/>
                </a:cubicBezTo>
                <a:lnTo>
                  <a:pt x="0" y="172886"/>
                </a:lnTo>
                <a:cubicBezTo>
                  <a:pt x="0" y="77404"/>
                  <a:pt x="77404" y="0"/>
                  <a:pt x="172886"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29" name="Freeform 328"/>
          <p:cNvSpPr/>
          <p:nvPr userDrawn="1"/>
        </p:nvSpPr>
        <p:spPr bwMode="auto">
          <a:xfrm rot="10800000">
            <a:off x="6535570" y="1298756"/>
            <a:ext cx="739752" cy="957190"/>
          </a:xfrm>
          <a:custGeom>
            <a:avLst/>
            <a:gdLst>
              <a:gd name="connsiteX0" fmla="*/ 2169333 w 2406928"/>
              <a:gd name="connsiteY0" fmla="*/ 2867530 h 3114848"/>
              <a:gd name="connsiteX1" fmla="*/ 2169333 w 2406928"/>
              <a:gd name="connsiteY1" fmla="*/ 247317 h 3114848"/>
              <a:gd name="connsiteX2" fmla="*/ 237594 w 2406928"/>
              <a:gd name="connsiteY2" fmla="*/ 247317 h 3114848"/>
              <a:gd name="connsiteX3" fmla="*/ 237594 w 2406928"/>
              <a:gd name="connsiteY3" fmla="*/ 2139319 h 3114848"/>
              <a:gd name="connsiteX4" fmla="*/ 965805 w 2406928"/>
              <a:gd name="connsiteY4" fmla="*/ 2867530 h 3114848"/>
              <a:gd name="connsiteX5" fmla="*/ 2406928 w 2406928"/>
              <a:gd name="connsiteY5" fmla="*/ 3114848 h 3114848"/>
              <a:gd name="connsiteX6" fmla="*/ 1213123 w 2406928"/>
              <a:gd name="connsiteY6" fmla="*/ 3114848 h 3114848"/>
              <a:gd name="connsiteX7" fmla="*/ 899243 w 2406928"/>
              <a:gd name="connsiteY7" fmla="*/ 3114848 h 3114848"/>
              <a:gd name="connsiteX8" fmla="*/ 0 w 2406928"/>
              <a:gd name="connsiteY8" fmla="*/ 2215605 h 3114848"/>
              <a:gd name="connsiteX9" fmla="*/ 0 w 2406928"/>
              <a:gd name="connsiteY9" fmla="*/ 0 h 3114848"/>
              <a:gd name="connsiteX10" fmla="*/ 2406928 w 2406928"/>
              <a:gd name="connsiteY10" fmla="*/ 0 h 3114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6928" h="3114848">
                <a:moveTo>
                  <a:pt x="2169333" y="2867530"/>
                </a:moveTo>
                <a:lnTo>
                  <a:pt x="2169333" y="247317"/>
                </a:lnTo>
                <a:lnTo>
                  <a:pt x="237594" y="247317"/>
                </a:lnTo>
                <a:lnTo>
                  <a:pt x="237594" y="2139319"/>
                </a:lnTo>
                <a:lnTo>
                  <a:pt x="965805" y="2867530"/>
                </a:lnTo>
                <a:close/>
                <a:moveTo>
                  <a:pt x="2406928" y="3114848"/>
                </a:moveTo>
                <a:lnTo>
                  <a:pt x="1213123" y="3114848"/>
                </a:lnTo>
                <a:lnTo>
                  <a:pt x="899243" y="3114848"/>
                </a:lnTo>
                <a:lnTo>
                  <a:pt x="0" y="2215605"/>
                </a:lnTo>
                <a:lnTo>
                  <a:pt x="0" y="0"/>
                </a:lnTo>
                <a:lnTo>
                  <a:pt x="2406928" y="0"/>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30" name="Freeform 19"/>
          <p:cNvSpPr>
            <a:spLocks noEditPoints="1"/>
          </p:cNvSpPr>
          <p:nvPr userDrawn="1"/>
        </p:nvSpPr>
        <p:spPr bwMode="auto">
          <a:xfrm>
            <a:off x="5095897" y="1510673"/>
            <a:ext cx="1242917" cy="838544"/>
          </a:xfrm>
          <a:custGeom>
            <a:avLst/>
            <a:gdLst>
              <a:gd name="T0" fmla="*/ 1097 w 1114"/>
              <a:gd name="T1" fmla="*/ 4 h 750"/>
              <a:gd name="T2" fmla="*/ 1066 w 1114"/>
              <a:gd name="T3" fmla="*/ 10 h 750"/>
              <a:gd name="T4" fmla="*/ 1066 w 1114"/>
              <a:gd name="T5" fmla="*/ 11 h 750"/>
              <a:gd name="T6" fmla="*/ 557 w 1114"/>
              <a:gd name="T7" fmla="*/ 171 h 750"/>
              <a:gd name="T8" fmla="*/ 48 w 1114"/>
              <a:gd name="T9" fmla="*/ 11 h 750"/>
              <a:gd name="T10" fmla="*/ 48 w 1114"/>
              <a:gd name="T11" fmla="*/ 10 h 750"/>
              <a:gd name="T12" fmla="*/ 18 w 1114"/>
              <a:gd name="T13" fmla="*/ 4 h 750"/>
              <a:gd name="T14" fmla="*/ 0 w 1114"/>
              <a:gd name="T15" fmla="*/ 30 h 750"/>
              <a:gd name="T16" fmla="*/ 0 w 1114"/>
              <a:gd name="T17" fmla="*/ 720 h 750"/>
              <a:gd name="T18" fmla="*/ 18 w 1114"/>
              <a:gd name="T19" fmla="*/ 746 h 750"/>
              <a:gd name="T20" fmla="*/ 48 w 1114"/>
              <a:gd name="T21" fmla="*/ 740 h 750"/>
              <a:gd name="T22" fmla="*/ 48 w 1114"/>
              <a:gd name="T23" fmla="*/ 740 h 750"/>
              <a:gd name="T24" fmla="*/ 557 w 1114"/>
              <a:gd name="T25" fmla="*/ 580 h 750"/>
              <a:gd name="T26" fmla="*/ 1066 w 1114"/>
              <a:gd name="T27" fmla="*/ 740 h 750"/>
              <a:gd name="T28" fmla="*/ 1066 w 1114"/>
              <a:gd name="T29" fmla="*/ 740 h 750"/>
              <a:gd name="T30" fmla="*/ 1086 w 1114"/>
              <a:gd name="T31" fmla="*/ 748 h 750"/>
              <a:gd name="T32" fmla="*/ 1097 w 1114"/>
              <a:gd name="T33" fmla="*/ 746 h 750"/>
              <a:gd name="T34" fmla="*/ 1114 w 1114"/>
              <a:gd name="T35" fmla="*/ 720 h 750"/>
              <a:gd name="T36" fmla="*/ 1114 w 1114"/>
              <a:gd name="T37" fmla="*/ 30 h 750"/>
              <a:gd name="T38" fmla="*/ 1097 w 1114"/>
              <a:gd name="T39" fmla="*/ 4 h 750"/>
              <a:gd name="T40" fmla="*/ 529 w 1114"/>
              <a:gd name="T41" fmla="*/ 524 h 750"/>
              <a:gd name="T42" fmla="*/ 301 w 1114"/>
              <a:gd name="T43" fmla="*/ 555 h 750"/>
              <a:gd name="T44" fmla="*/ 301 w 1114"/>
              <a:gd name="T45" fmla="*/ 196 h 750"/>
              <a:gd name="T46" fmla="*/ 529 w 1114"/>
              <a:gd name="T47" fmla="*/ 227 h 750"/>
              <a:gd name="T48" fmla="*/ 529 w 1114"/>
              <a:gd name="T49" fmla="*/ 524 h 750"/>
              <a:gd name="T50" fmla="*/ 585 w 1114"/>
              <a:gd name="T51" fmla="*/ 227 h 750"/>
              <a:gd name="T52" fmla="*/ 813 w 1114"/>
              <a:gd name="T53" fmla="*/ 196 h 750"/>
              <a:gd name="T54" fmla="*/ 813 w 1114"/>
              <a:gd name="T55" fmla="*/ 555 h 750"/>
              <a:gd name="T56" fmla="*/ 585 w 1114"/>
              <a:gd name="T57" fmla="*/ 524 h 750"/>
              <a:gd name="T58" fmla="*/ 585 w 1114"/>
              <a:gd name="T59" fmla="*/ 227 h 750"/>
              <a:gd name="T60" fmla="*/ 57 w 1114"/>
              <a:gd name="T61" fmla="*/ 88 h 750"/>
              <a:gd name="T62" fmla="*/ 245 w 1114"/>
              <a:gd name="T63" fmla="*/ 180 h 750"/>
              <a:gd name="T64" fmla="*/ 245 w 1114"/>
              <a:gd name="T65" fmla="*/ 571 h 750"/>
              <a:gd name="T66" fmla="*/ 57 w 1114"/>
              <a:gd name="T67" fmla="*/ 662 h 750"/>
              <a:gd name="T68" fmla="*/ 57 w 1114"/>
              <a:gd name="T69" fmla="*/ 88 h 750"/>
              <a:gd name="T70" fmla="*/ 1058 w 1114"/>
              <a:gd name="T71" fmla="*/ 662 h 750"/>
              <a:gd name="T72" fmla="*/ 869 w 1114"/>
              <a:gd name="T73" fmla="*/ 571 h 750"/>
              <a:gd name="T74" fmla="*/ 869 w 1114"/>
              <a:gd name="T75" fmla="*/ 180 h 750"/>
              <a:gd name="T76" fmla="*/ 1058 w 1114"/>
              <a:gd name="T77" fmla="*/ 88 h 750"/>
              <a:gd name="T78" fmla="*/ 1058 w 1114"/>
              <a:gd name="T79" fmla="*/ 66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4" h="750">
                <a:moveTo>
                  <a:pt x="1097" y="4"/>
                </a:moveTo>
                <a:cubicBezTo>
                  <a:pt x="1086" y="0"/>
                  <a:pt x="1074" y="2"/>
                  <a:pt x="1066" y="10"/>
                </a:cubicBezTo>
                <a:cubicBezTo>
                  <a:pt x="1066" y="11"/>
                  <a:pt x="1066" y="11"/>
                  <a:pt x="1066" y="11"/>
                </a:cubicBezTo>
                <a:cubicBezTo>
                  <a:pt x="952" y="111"/>
                  <a:pt x="762" y="171"/>
                  <a:pt x="557" y="171"/>
                </a:cubicBezTo>
                <a:cubicBezTo>
                  <a:pt x="352" y="171"/>
                  <a:pt x="162" y="111"/>
                  <a:pt x="48" y="11"/>
                </a:cubicBezTo>
                <a:cubicBezTo>
                  <a:pt x="48" y="10"/>
                  <a:pt x="48" y="10"/>
                  <a:pt x="48" y="10"/>
                </a:cubicBezTo>
                <a:cubicBezTo>
                  <a:pt x="40" y="2"/>
                  <a:pt x="28" y="0"/>
                  <a:pt x="18" y="4"/>
                </a:cubicBezTo>
                <a:cubicBezTo>
                  <a:pt x="7" y="9"/>
                  <a:pt x="0" y="19"/>
                  <a:pt x="0" y="30"/>
                </a:cubicBezTo>
                <a:cubicBezTo>
                  <a:pt x="0" y="720"/>
                  <a:pt x="0" y="720"/>
                  <a:pt x="0" y="720"/>
                </a:cubicBezTo>
                <a:cubicBezTo>
                  <a:pt x="0" y="731"/>
                  <a:pt x="7" y="742"/>
                  <a:pt x="18" y="746"/>
                </a:cubicBezTo>
                <a:cubicBezTo>
                  <a:pt x="28" y="750"/>
                  <a:pt x="40" y="748"/>
                  <a:pt x="48" y="740"/>
                </a:cubicBezTo>
                <a:cubicBezTo>
                  <a:pt x="48" y="740"/>
                  <a:pt x="48" y="740"/>
                  <a:pt x="48" y="740"/>
                </a:cubicBezTo>
                <a:cubicBezTo>
                  <a:pt x="162" y="639"/>
                  <a:pt x="352" y="580"/>
                  <a:pt x="557" y="580"/>
                </a:cubicBezTo>
                <a:cubicBezTo>
                  <a:pt x="762" y="580"/>
                  <a:pt x="952" y="639"/>
                  <a:pt x="1066" y="740"/>
                </a:cubicBezTo>
                <a:cubicBezTo>
                  <a:pt x="1066" y="740"/>
                  <a:pt x="1066" y="740"/>
                  <a:pt x="1066" y="740"/>
                </a:cubicBezTo>
                <a:cubicBezTo>
                  <a:pt x="1072" y="745"/>
                  <a:pt x="1079" y="748"/>
                  <a:pt x="1086" y="748"/>
                </a:cubicBezTo>
                <a:cubicBezTo>
                  <a:pt x="1090" y="748"/>
                  <a:pt x="1093" y="747"/>
                  <a:pt x="1097" y="746"/>
                </a:cubicBezTo>
                <a:cubicBezTo>
                  <a:pt x="1107" y="742"/>
                  <a:pt x="1114" y="731"/>
                  <a:pt x="1114" y="720"/>
                </a:cubicBezTo>
                <a:cubicBezTo>
                  <a:pt x="1114" y="30"/>
                  <a:pt x="1114" y="30"/>
                  <a:pt x="1114" y="30"/>
                </a:cubicBezTo>
                <a:cubicBezTo>
                  <a:pt x="1114" y="19"/>
                  <a:pt x="1107" y="9"/>
                  <a:pt x="1097" y="4"/>
                </a:cubicBezTo>
                <a:close/>
                <a:moveTo>
                  <a:pt x="529" y="524"/>
                </a:moveTo>
                <a:cubicBezTo>
                  <a:pt x="450" y="526"/>
                  <a:pt x="373" y="536"/>
                  <a:pt x="301" y="555"/>
                </a:cubicBezTo>
                <a:cubicBezTo>
                  <a:pt x="301" y="196"/>
                  <a:pt x="301" y="196"/>
                  <a:pt x="301" y="196"/>
                </a:cubicBezTo>
                <a:cubicBezTo>
                  <a:pt x="373" y="214"/>
                  <a:pt x="450" y="225"/>
                  <a:pt x="529" y="227"/>
                </a:cubicBezTo>
                <a:lnTo>
                  <a:pt x="529" y="524"/>
                </a:lnTo>
                <a:close/>
                <a:moveTo>
                  <a:pt x="585" y="227"/>
                </a:moveTo>
                <a:cubicBezTo>
                  <a:pt x="664" y="225"/>
                  <a:pt x="741" y="214"/>
                  <a:pt x="813" y="196"/>
                </a:cubicBezTo>
                <a:cubicBezTo>
                  <a:pt x="813" y="555"/>
                  <a:pt x="813" y="555"/>
                  <a:pt x="813" y="555"/>
                </a:cubicBezTo>
                <a:cubicBezTo>
                  <a:pt x="741" y="536"/>
                  <a:pt x="664" y="526"/>
                  <a:pt x="585" y="524"/>
                </a:cubicBezTo>
                <a:lnTo>
                  <a:pt x="585" y="227"/>
                </a:lnTo>
                <a:close/>
                <a:moveTo>
                  <a:pt x="57" y="88"/>
                </a:moveTo>
                <a:cubicBezTo>
                  <a:pt x="110" y="126"/>
                  <a:pt x="174" y="157"/>
                  <a:pt x="245" y="180"/>
                </a:cubicBezTo>
                <a:cubicBezTo>
                  <a:pt x="245" y="571"/>
                  <a:pt x="245" y="571"/>
                  <a:pt x="245" y="571"/>
                </a:cubicBezTo>
                <a:cubicBezTo>
                  <a:pt x="174" y="594"/>
                  <a:pt x="110" y="625"/>
                  <a:pt x="57" y="662"/>
                </a:cubicBezTo>
                <a:lnTo>
                  <a:pt x="57" y="88"/>
                </a:lnTo>
                <a:close/>
                <a:moveTo>
                  <a:pt x="1058" y="662"/>
                </a:moveTo>
                <a:cubicBezTo>
                  <a:pt x="1004" y="625"/>
                  <a:pt x="940" y="594"/>
                  <a:pt x="869" y="571"/>
                </a:cubicBezTo>
                <a:cubicBezTo>
                  <a:pt x="869" y="180"/>
                  <a:pt x="869" y="180"/>
                  <a:pt x="869" y="180"/>
                </a:cubicBezTo>
                <a:cubicBezTo>
                  <a:pt x="940" y="157"/>
                  <a:pt x="1004" y="126"/>
                  <a:pt x="1058" y="88"/>
                </a:cubicBezTo>
                <a:lnTo>
                  <a:pt x="1058" y="662"/>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31" name="Freeform 5"/>
          <p:cNvSpPr>
            <a:spLocks noEditPoints="1"/>
          </p:cNvSpPr>
          <p:nvPr userDrawn="1"/>
        </p:nvSpPr>
        <p:spPr bwMode="auto">
          <a:xfrm flipH="1">
            <a:off x="4056863" y="2888082"/>
            <a:ext cx="544114" cy="969325"/>
          </a:xfrm>
          <a:custGeom>
            <a:avLst/>
            <a:gdLst>
              <a:gd name="T0" fmla="*/ 31 w 34"/>
              <a:gd name="T1" fmla="*/ 0 h 63"/>
              <a:gd name="T2" fmla="*/ 3 w 34"/>
              <a:gd name="T3" fmla="*/ 0 h 63"/>
              <a:gd name="T4" fmla="*/ 0 w 34"/>
              <a:gd name="T5" fmla="*/ 3 h 63"/>
              <a:gd name="T6" fmla="*/ 0 w 34"/>
              <a:gd name="T7" fmla="*/ 60 h 63"/>
              <a:gd name="T8" fmla="*/ 3 w 34"/>
              <a:gd name="T9" fmla="*/ 63 h 63"/>
              <a:gd name="T10" fmla="*/ 31 w 34"/>
              <a:gd name="T11" fmla="*/ 63 h 63"/>
              <a:gd name="T12" fmla="*/ 34 w 34"/>
              <a:gd name="T13" fmla="*/ 60 h 63"/>
              <a:gd name="T14" fmla="*/ 34 w 34"/>
              <a:gd name="T15" fmla="*/ 3 h 63"/>
              <a:gd name="T16" fmla="*/ 31 w 34"/>
              <a:gd name="T17" fmla="*/ 0 h 63"/>
              <a:gd name="T18" fmla="*/ 14 w 34"/>
              <a:gd name="T19" fmla="*/ 1 h 63"/>
              <a:gd name="T20" fmla="*/ 20 w 34"/>
              <a:gd name="T21" fmla="*/ 1 h 63"/>
              <a:gd name="T22" fmla="*/ 20 w 34"/>
              <a:gd name="T23" fmla="*/ 2 h 63"/>
              <a:gd name="T24" fmla="*/ 14 w 34"/>
              <a:gd name="T25" fmla="*/ 2 h 63"/>
              <a:gd name="T26" fmla="*/ 14 w 34"/>
              <a:gd name="T27" fmla="*/ 1 h 63"/>
              <a:gd name="T28" fmla="*/ 31 w 34"/>
              <a:gd name="T29" fmla="*/ 55 h 63"/>
              <a:gd name="T30" fmla="*/ 3 w 34"/>
              <a:gd name="T31" fmla="*/ 55 h 63"/>
              <a:gd name="T32" fmla="*/ 3 w 34"/>
              <a:gd name="T33" fmla="*/ 4 h 63"/>
              <a:gd name="T34" fmla="*/ 31 w 34"/>
              <a:gd name="T35" fmla="*/ 4 h 63"/>
              <a:gd name="T36" fmla="*/ 31 w 34"/>
              <a:gd name="T37" fmla="*/ 5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63">
                <a:moveTo>
                  <a:pt x="31" y="0"/>
                </a:moveTo>
                <a:cubicBezTo>
                  <a:pt x="3" y="0"/>
                  <a:pt x="3" y="0"/>
                  <a:pt x="3" y="0"/>
                </a:cubicBezTo>
                <a:cubicBezTo>
                  <a:pt x="1" y="0"/>
                  <a:pt x="0" y="1"/>
                  <a:pt x="0" y="3"/>
                </a:cubicBezTo>
                <a:cubicBezTo>
                  <a:pt x="0" y="60"/>
                  <a:pt x="0" y="60"/>
                  <a:pt x="0" y="60"/>
                </a:cubicBezTo>
                <a:cubicBezTo>
                  <a:pt x="0" y="61"/>
                  <a:pt x="1" y="63"/>
                  <a:pt x="3" y="63"/>
                </a:cubicBezTo>
                <a:cubicBezTo>
                  <a:pt x="31" y="63"/>
                  <a:pt x="31" y="63"/>
                  <a:pt x="31" y="63"/>
                </a:cubicBezTo>
                <a:cubicBezTo>
                  <a:pt x="33" y="63"/>
                  <a:pt x="34" y="61"/>
                  <a:pt x="34" y="60"/>
                </a:cubicBezTo>
                <a:cubicBezTo>
                  <a:pt x="34" y="3"/>
                  <a:pt x="34" y="3"/>
                  <a:pt x="34" y="3"/>
                </a:cubicBezTo>
                <a:cubicBezTo>
                  <a:pt x="34" y="1"/>
                  <a:pt x="33" y="0"/>
                  <a:pt x="31" y="0"/>
                </a:cubicBezTo>
                <a:close/>
                <a:moveTo>
                  <a:pt x="14" y="1"/>
                </a:moveTo>
                <a:cubicBezTo>
                  <a:pt x="20" y="1"/>
                  <a:pt x="20" y="1"/>
                  <a:pt x="20" y="1"/>
                </a:cubicBezTo>
                <a:cubicBezTo>
                  <a:pt x="20" y="2"/>
                  <a:pt x="20" y="2"/>
                  <a:pt x="20" y="2"/>
                </a:cubicBezTo>
                <a:cubicBezTo>
                  <a:pt x="14" y="2"/>
                  <a:pt x="14" y="2"/>
                  <a:pt x="14" y="2"/>
                </a:cubicBezTo>
                <a:lnTo>
                  <a:pt x="14" y="1"/>
                </a:lnTo>
                <a:close/>
                <a:moveTo>
                  <a:pt x="31" y="55"/>
                </a:moveTo>
                <a:cubicBezTo>
                  <a:pt x="3" y="55"/>
                  <a:pt x="3" y="55"/>
                  <a:pt x="3" y="55"/>
                </a:cubicBezTo>
                <a:cubicBezTo>
                  <a:pt x="3" y="4"/>
                  <a:pt x="3" y="4"/>
                  <a:pt x="3" y="4"/>
                </a:cubicBezTo>
                <a:cubicBezTo>
                  <a:pt x="31" y="4"/>
                  <a:pt x="31" y="4"/>
                  <a:pt x="31" y="4"/>
                </a:cubicBezTo>
                <a:lnTo>
                  <a:pt x="31" y="55"/>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grpSp>
        <p:nvGrpSpPr>
          <p:cNvPr id="332" name="Group 331"/>
          <p:cNvGrpSpPr/>
          <p:nvPr userDrawn="1"/>
        </p:nvGrpSpPr>
        <p:grpSpPr>
          <a:xfrm>
            <a:off x="5210880" y="3273689"/>
            <a:ext cx="814525" cy="952033"/>
            <a:chOff x="1490852" y="-1529087"/>
            <a:chExt cx="798513" cy="933450"/>
          </a:xfrm>
          <a:solidFill>
            <a:schemeClr val="bg1">
              <a:lumMod val="85000"/>
            </a:schemeClr>
          </a:solidFill>
        </p:grpSpPr>
        <p:sp>
          <p:nvSpPr>
            <p:cNvPr id="333" name="Freeform 24"/>
            <p:cNvSpPr>
              <a:spLocks noEditPoints="1"/>
            </p:cNvSpPr>
            <p:nvPr/>
          </p:nvSpPr>
          <p:spPr bwMode="auto">
            <a:xfrm>
              <a:off x="1490852" y="-1529087"/>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0 h 70"/>
                <a:gd name="T12" fmla="*/ 24 w 48"/>
                <a:gd name="T13" fmla="*/ 70 h 70"/>
                <a:gd name="T14" fmla="*/ 24 w 48"/>
                <a:gd name="T15" fmla="*/ 11 h 70"/>
                <a:gd name="T16" fmla="*/ 15 w 48"/>
                <a:gd name="T17" fmla="*/ 35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1"/>
                    <a:pt x="48" y="34"/>
                  </a:cubicBezTo>
                  <a:cubicBezTo>
                    <a:pt x="48" y="46"/>
                    <a:pt x="46" y="54"/>
                    <a:pt x="42" y="60"/>
                  </a:cubicBezTo>
                  <a:cubicBezTo>
                    <a:pt x="38" y="66"/>
                    <a:pt x="32" y="70"/>
                    <a:pt x="24" y="70"/>
                  </a:cubicBezTo>
                  <a:close/>
                  <a:moveTo>
                    <a:pt x="24" y="11"/>
                  </a:moveTo>
                  <a:cubicBezTo>
                    <a:pt x="18" y="11"/>
                    <a:pt x="15" y="19"/>
                    <a:pt x="15" y="35"/>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34" name="Freeform 25"/>
            <p:cNvSpPr>
              <a:spLocks/>
            </p:cNvSpPr>
            <p:nvPr/>
          </p:nvSpPr>
          <p:spPr bwMode="auto">
            <a:xfrm>
              <a:off x="1725802" y="-1529087"/>
              <a:ext cx="111125"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7 w 29"/>
                <a:gd name="T11" fmla="*/ 20 h 68"/>
                <a:gd name="T12" fmla="*/ 4 w 29"/>
                <a:gd name="T13" fmla="*/ 21 h 68"/>
                <a:gd name="T14" fmla="*/ 0 w 29"/>
                <a:gd name="T15" fmla="*/ 22 h 68"/>
                <a:gd name="T16" fmla="*/ 0 w 29"/>
                <a:gd name="T17" fmla="*/ 10 h 68"/>
                <a:gd name="T18" fmla="*/ 10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7" y="20"/>
                  </a:cubicBezTo>
                  <a:cubicBezTo>
                    <a:pt x="6" y="21"/>
                    <a:pt x="5" y="21"/>
                    <a:pt x="4" y="21"/>
                  </a:cubicBezTo>
                  <a:cubicBezTo>
                    <a:pt x="2" y="22"/>
                    <a:pt x="1" y="22"/>
                    <a:pt x="0" y="22"/>
                  </a:cubicBezTo>
                  <a:cubicBezTo>
                    <a:pt x="0" y="10"/>
                    <a:pt x="0" y="10"/>
                    <a:pt x="0" y="10"/>
                  </a:cubicBezTo>
                  <a:cubicBezTo>
                    <a:pt x="3" y="9"/>
                    <a:pt x="7" y="7"/>
                    <a:pt x="10"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35" name="Freeform 26"/>
            <p:cNvSpPr>
              <a:spLocks noEditPoints="1"/>
            </p:cNvSpPr>
            <p:nvPr/>
          </p:nvSpPr>
          <p:spPr bwMode="auto">
            <a:xfrm>
              <a:off x="1908365" y="-1529087"/>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4 h 70"/>
                <a:gd name="T10" fmla="*/ 42 w 49"/>
                <a:gd name="T11" fmla="*/ 60 h 70"/>
                <a:gd name="T12" fmla="*/ 24 w 49"/>
                <a:gd name="T13" fmla="*/ 70 h 70"/>
                <a:gd name="T14" fmla="*/ 25 w 49"/>
                <a:gd name="T15" fmla="*/ 11 h 70"/>
                <a:gd name="T16" fmla="*/ 15 w 49"/>
                <a:gd name="T17" fmla="*/ 35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5" y="0"/>
                  </a:cubicBezTo>
                  <a:cubicBezTo>
                    <a:pt x="41" y="0"/>
                    <a:pt x="49" y="11"/>
                    <a:pt x="49" y="34"/>
                  </a:cubicBezTo>
                  <a:cubicBezTo>
                    <a:pt x="49" y="46"/>
                    <a:pt x="47" y="54"/>
                    <a:pt x="42" y="60"/>
                  </a:cubicBezTo>
                  <a:cubicBezTo>
                    <a:pt x="38" y="66"/>
                    <a:pt x="32" y="70"/>
                    <a:pt x="24" y="70"/>
                  </a:cubicBezTo>
                  <a:close/>
                  <a:moveTo>
                    <a:pt x="25" y="11"/>
                  </a:moveTo>
                  <a:cubicBezTo>
                    <a:pt x="18" y="11"/>
                    <a:pt x="15" y="19"/>
                    <a:pt x="15" y="35"/>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36" name="Freeform 27"/>
            <p:cNvSpPr>
              <a:spLocks/>
            </p:cNvSpPr>
            <p:nvPr/>
          </p:nvSpPr>
          <p:spPr bwMode="auto">
            <a:xfrm>
              <a:off x="2144902" y="-1529087"/>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1 h 68"/>
                <a:gd name="T14" fmla="*/ 0 w 29"/>
                <a:gd name="T15" fmla="*/ 22 h 68"/>
                <a:gd name="T16" fmla="*/ 0 w 29"/>
                <a:gd name="T17" fmla="*/ 10 h 68"/>
                <a:gd name="T18" fmla="*/ 11 w 29"/>
                <a:gd name="T19" fmla="*/ 5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1" y="18"/>
                  </a:cubicBezTo>
                  <a:cubicBezTo>
                    <a:pt x="10" y="19"/>
                    <a:pt x="9" y="20"/>
                    <a:pt x="8" y="20"/>
                  </a:cubicBezTo>
                  <a:cubicBezTo>
                    <a:pt x="7" y="21"/>
                    <a:pt x="5" y="21"/>
                    <a:pt x="4" y="21"/>
                  </a:cubicBezTo>
                  <a:cubicBezTo>
                    <a:pt x="3" y="22"/>
                    <a:pt x="1" y="22"/>
                    <a:pt x="0" y="22"/>
                  </a:cubicBezTo>
                  <a:cubicBezTo>
                    <a:pt x="0" y="10"/>
                    <a:pt x="0" y="10"/>
                    <a:pt x="0" y="10"/>
                  </a:cubicBezTo>
                  <a:cubicBezTo>
                    <a:pt x="4" y="9"/>
                    <a:pt x="8" y="7"/>
                    <a:pt x="11" y="5"/>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37" name="Freeform 28"/>
            <p:cNvSpPr>
              <a:spLocks/>
            </p:cNvSpPr>
            <p:nvPr/>
          </p:nvSpPr>
          <p:spPr bwMode="auto">
            <a:xfrm>
              <a:off x="1501965" y="-1195712"/>
              <a:ext cx="109538" cy="258763"/>
            </a:xfrm>
            <a:custGeom>
              <a:avLst/>
              <a:gdLst>
                <a:gd name="T0" fmla="*/ 29 w 29"/>
                <a:gd name="T1" fmla="*/ 0 h 68"/>
                <a:gd name="T2" fmla="*/ 29 w 29"/>
                <a:gd name="T3" fmla="*/ 68 h 68"/>
                <a:gd name="T4" fmla="*/ 14 w 29"/>
                <a:gd name="T5" fmla="*/ 68 h 68"/>
                <a:gd name="T6" fmla="*/ 14 w 29"/>
                <a:gd name="T7" fmla="*/ 16 h 68"/>
                <a:gd name="T8" fmla="*/ 11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3" y="17"/>
                    <a:pt x="12" y="18"/>
                    <a:pt x="11" y="18"/>
                  </a:cubicBezTo>
                  <a:cubicBezTo>
                    <a:pt x="10" y="19"/>
                    <a:pt x="9" y="20"/>
                    <a:pt x="8" y="20"/>
                  </a:cubicBezTo>
                  <a:cubicBezTo>
                    <a:pt x="6" y="21"/>
                    <a:pt x="5" y="21"/>
                    <a:pt x="4" y="22"/>
                  </a:cubicBezTo>
                  <a:cubicBezTo>
                    <a:pt x="2" y="22"/>
                    <a:pt x="1" y="22"/>
                    <a:pt x="0" y="22"/>
                  </a:cubicBezTo>
                  <a:cubicBezTo>
                    <a:pt x="0" y="10"/>
                    <a:pt x="0" y="10"/>
                    <a:pt x="0" y="10"/>
                  </a:cubicBezTo>
                  <a:cubicBezTo>
                    <a:pt x="4" y="9"/>
                    <a:pt x="7"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38" name="Freeform 29"/>
            <p:cNvSpPr>
              <a:spLocks noEditPoints="1"/>
            </p:cNvSpPr>
            <p:nvPr/>
          </p:nvSpPr>
          <p:spPr bwMode="auto">
            <a:xfrm>
              <a:off x="1684527" y="-1195712"/>
              <a:ext cx="185738" cy="266700"/>
            </a:xfrm>
            <a:custGeom>
              <a:avLst/>
              <a:gdLst>
                <a:gd name="T0" fmla="*/ 24 w 49"/>
                <a:gd name="T1" fmla="*/ 70 h 70"/>
                <a:gd name="T2" fmla="*/ 0 w 49"/>
                <a:gd name="T3" fmla="*/ 36 h 70"/>
                <a:gd name="T4" fmla="*/ 7 w 49"/>
                <a:gd name="T5" fmla="*/ 9 h 70"/>
                <a:gd name="T6" fmla="*/ 26 w 49"/>
                <a:gd name="T7" fmla="*/ 0 h 70"/>
                <a:gd name="T8" fmla="*/ 49 w 49"/>
                <a:gd name="T9" fmla="*/ 34 h 70"/>
                <a:gd name="T10" fmla="*/ 43 w 49"/>
                <a:gd name="T11" fmla="*/ 61 h 70"/>
                <a:gd name="T12" fmla="*/ 24 w 49"/>
                <a:gd name="T13" fmla="*/ 70 h 70"/>
                <a:gd name="T14" fmla="*/ 25 w 49"/>
                <a:gd name="T15" fmla="*/ 11 h 70"/>
                <a:gd name="T16" fmla="*/ 15 w 49"/>
                <a:gd name="T17" fmla="*/ 36 h 70"/>
                <a:gd name="T18" fmla="*/ 25 w 49"/>
                <a:gd name="T19" fmla="*/ 58 h 70"/>
                <a:gd name="T20" fmla="*/ 34 w 49"/>
                <a:gd name="T21" fmla="*/ 35 h 70"/>
                <a:gd name="T22" fmla="*/ 25 w 49"/>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8"/>
                    <a:pt x="0" y="36"/>
                  </a:cubicBezTo>
                  <a:cubicBezTo>
                    <a:pt x="0" y="24"/>
                    <a:pt x="2" y="15"/>
                    <a:pt x="7" y="9"/>
                  </a:cubicBezTo>
                  <a:cubicBezTo>
                    <a:pt x="11" y="3"/>
                    <a:pt x="17" y="0"/>
                    <a:pt x="26" y="0"/>
                  </a:cubicBezTo>
                  <a:cubicBezTo>
                    <a:pt x="41" y="0"/>
                    <a:pt x="49" y="12"/>
                    <a:pt x="49" y="34"/>
                  </a:cubicBezTo>
                  <a:cubicBezTo>
                    <a:pt x="49" y="46"/>
                    <a:pt x="47" y="54"/>
                    <a:pt x="43" y="61"/>
                  </a:cubicBezTo>
                  <a:cubicBezTo>
                    <a:pt x="38" y="67"/>
                    <a:pt x="32" y="70"/>
                    <a:pt x="24" y="70"/>
                  </a:cubicBezTo>
                  <a:close/>
                  <a:moveTo>
                    <a:pt x="25" y="11"/>
                  </a:moveTo>
                  <a:cubicBezTo>
                    <a:pt x="18" y="11"/>
                    <a:pt x="15" y="19"/>
                    <a:pt x="15" y="36"/>
                  </a:cubicBezTo>
                  <a:cubicBezTo>
                    <a:pt x="15" y="51"/>
                    <a:pt x="18" y="58"/>
                    <a:pt x="25" y="58"/>
                  </a:cubicBezTo>
                  <a:cubicBezTo>
                    <a:pt x="31" y="58"/>
                    <a:pt x="34" y="50"/>
                    <a:pt x="34" y="35"/>
                  </a:cubicBezTo>
                  <a:cubicBezTo>
                    <a:pt x="34" y="19"/>
                    <a:pt x="31" y="11"/>
                    <a:pt x="2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39" name="Freeform 30"/>
            <p:cNvSpPr>
              <a:spLocks/>
            </p:cNvSpPr>
            <p:nvPr/>
          </p:nvSpPr>
          <p:spPr bwMode="auto">
            <a:xfrm>
              <a:off x="1919477" y="-1195712"/>
              <a:ext cx="111125" cy="258763"/>
            </a:xfrm>
            <a:custGeom>
              <a:avLst/>
              <a:gdLst>
                <a:gd name="T0" fmla="*/ 29 w 29"/>
                <a:gd name="T1" fmla="*/ 0 h 68"/>
                <a:gd name="T2" fmla="*/ 29 w 29"/>
                <a:gd name="T3" fmla="*/ 68 h 68"/>
                <a:gd name="T4" fmla="*/ 14 w 29"/>
                <a:gd name="T5" fmla="*/ 68 h 68"/>
                <a:gd name="T6" fmla="*/ 14 w 29"/>
                <a:gd name="T7" fmla="*/ 16 h 68"/>
                <a:gd name="T8" fmla="*/ 12 w 29"/>
                <a:gd name="T9" fmla="*/ 18 h 68"/>
                <a:gd name="T10" fmla="*/ 8 w 29"/>
                <a:gd name="T11" fmla="*/ 20 h 68"/>
                <a:gd name="T12" fmla="*/ 4 w 29"/>
                <a:gd name="T13" fmla="*/ 22 h 68"/>
                <a:gd name="T14" fmla="*/ 0 w 29"/>
                <a:gd name="T15" fmla="*/ 22 h 68"/>
                <a:gd name="T16" fmla="*/ 0 w 29"/>
                <a:gd name="T17" fmla="*/ 10 h 68"/>
                <a:gd name="T18" fmla="*/ 11 w 29"/>
                <a:gd name="T19" fmla="*/ 6 h 68"/>
                <a:gd name="T20" fmla="*/ 20 w 29"/>
                <a:gd name="T21" fmla="*/ 0 h 68"/>
                <a:gd name="T22" fmla="*/ 29 w 29"/>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8">
                  <a:moveTo>
                    <a:pt x="29" y="0"/>
                  </a:moveTo>
                  <a:cubicBezTo>
                    <a:pt x="29" y="68"/>
                    <a:pt x="29" y="68"/>
                    <a:pt x="29" y="68"/>
                  </a:cubicBezTo>
                  <a:cubicBezTo>
                    <a:pt x="14" y="68"/>
                    <a:pt x="14" y="68"/>
                    <a:pt x="14" y="68"/>
                  </a:cubicBezTo>
                  <a:cubicBezTo>
                    <a:pt x="14" y="16"/>
                    <a:pt x="14" y="16"/>
                    <a:pt x="14" y="16"/>
                  </a:cubicBezTo>
                  <a:cubicBezTo>
                    <a:pt x="14" y="17"/>
                    <a:pt x="13" y="18"/>
                    <a:pt x="12" y="18"/>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8"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40" name="Freeform 31"/>
            <p:cNvSpPr>
              <a:spLocks noEditPoints="1"/>
            </p:cNvSpPr>
            <p:nvPr/>
          </p:nvSpPr>
          <p:spPr bwMode="auto">
            <a:xfrm>
              <a:off x="2106802" y="-1195712"/>
              <a:ext cx="182563" cy="266700"/>
            </a:xfrm>
            <a:custGeom>
              <a:avLst/>
              <a:gdLst>
                <a:gd name="T0" fmla="*/ 24 w 48"/>
                <a:gd name="T1" fmla="*/ 70 h 70"/>
                <a:gd name="T2" fmla="*/ 0 w 48"/>
                <a:gd name="T3" fmla="*/ 36 h 70"/>
                <a:gd name="T4" fmla="*/ 6 w 48"/>
                <a:gd name="T5" fmla="*/ 9 h 70"/>
                <a:gd name="T6" fmla="*/ 25 w 48"/>
                <a:gd name="T7" fmla="*/ 0 h 70"/>
                <a:gd name="T8" fmla="*/ 48 w 48"/>
                <a:gd name="T9" fmla="*/ 34 h 70"/>
                <a:gd name="T10" fmla="*/ 42 w 48"/>
                <a:gd name="T11" fmla="*/ 61 h 70"/>
                <a:gd name="T12" fmla="*/ 24 w 48"/>
                <a:gd name="T13" fmla="*/ 70 h 70"/>
                <a:gd name="T14" fmla="*/ 24 w 48"/>
                <a:gd name="T15" fmla="*/ 11 h 70"/>
                <a:gd name="T16" fmla="*/ 15 w 48"/>
                <a:gd name="T17" fmla="*/ 36 h 70"/>
                <a:gd name="T18" fmla="*/ 24 w 48"/>
                <a:gd name="T19" fmla="*/ 58 h 70"/>
                <a:gd name="T20" fmla="*/ 33 w 48"/>
                <a:gd name="T21" fmla="*/ 35 h 70"/>
                <a:gd name="T22" fmla="*/ 24 w 48"/>
                <a:gd name="T23" fmla="*/ 1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8"/>
                    <a:pt x="0" y="36"/>
                  </a:cubicBezTo>
                  <a:cubicBezTo>
                    <a:pt x="0" y="24"/>
                    <a:pt x="2" y="15"/>
                    <a:pt x="6" y="9"/>
                  </a:cubicBezTo>
                  <a:cubicBezTo>
                    <a:pt x="10" y="3"/>
                    <a:pt x="17" y="0"/>
                    <a:pt x="25" y="0"/>
                  </a:cubicBezTo>
                  <a:cubicBezTo>
                    <a:pt x="41" y="0"/>
                    <a:pt x="48" y="12"/>
                    <a:pt x="48" y="34"/>
                  </a:cubicBezTo>
                  <a:cubicBezTo>
                    <a:pt x="48" y="46"/>
                    <a:pt x="46" y="54"/>
                    <a:pt x="42" y="61"/>
                  </a:cubicBezTo>
                  <a:cubicBezTo>
                    <a:pt x="38" y="67"/>
                    <a:pt x="32" y="70"/>
                    <a:pt x="24" y="70"/>
                  </a:cubicBezTo>
                  <a:close/>
                  <a:moveTo>
                    <a:pt x="24" y="11"/>
                  </a:moveTo>
                  <a:cubicBezTo>
                    <a:pt x="18" y="11"/>
                    <a:pt x="15" y="19"/>
                    <a:pt x="15" y="36"/>
                  </a:cubicBezTo>
                  <a:cubicBezTo>
                    <a:pt x="15" y="51"/>
                    <a:pt x="18" y="58"/>
                    <a:pt x="24" y="58"/>
                  </a:cubicBezTo>
                  <a:cubicBezTo>
                    <a:pt x="30" y="58"/>
                    <a:pt x="33" y="50"/>
                    <a:pt x="33" y="35"/>
                  </a:cubicBezTo>
                  <a:cubicBezTo>
                    <a:pt x="33" y="19"/>
                    <a:pt x="30" y="11"/>
                    <a:pt x="2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41" name="Freeform 32"/>
            <p:cNvSpPr>
              <a:spLocks noEditPoints="1"/>
            </p:cNvSpPr>
            <p:nvPr/>
          </p:nvSpPr>
          <p:spPr bwMode="auto">
            <a:xfrm>
              <a:off x="1490852" y="-860750"/>
              <a:ext cx="182563" cy="265113"/>
            </a:xfrm>
            <a:custGeom>
              <a:avLst/>
              <a:gdLst>
                <a:gd name="T0" fmla="*/ 24 w 48"/>
                <a:gd name="T1" fmla="*/ 70 h 70"/>
                <a:gd name="T2" fmla="*/ 0 w 48"/>
                <a:gd name="T3" fmla="*/ 36 h 70"/>
                <a:gd name="T4" fmla="*/ 6 w 48"/>
                <a:gd name="T5" fmla="*/ 9 h 70"/>
                <a:gd name="T6" fmla="*/ 25 w 48"/>
                <a:gd name="T7" fmla="*/ 0 h 70"/>
                <a:gd name="T8" fmla="*/ 48 w 48"/>
                <a:gd name="T9" fmla="*/ 35 h 70"/>
                <a:gd name="T10" fmla="*/ 42 w 48"/>
                <a:gd name="T11" fmla="*/ 61 h 70"/>
                <a:gd name="T12" fmla="*/ 24 w 48"/>
                <a:gd name="T13" fmla="*/ 70 h 70"/>
                <a:gd name="T14" fmla="*/ 24 w 48"/>
                <a:gd name="T15" fmla="*/ 12 h 70"/>
                <a:gd name="T16" fmla="*/ 15 w 48"/>
                <a:gd name="T17" fmla="*/ 36 h 70"/>
                <a:gd name="T18" fmla="*/ 24 w 48"/>
                <a:gd name="T19" fmla="*/ 58 h 70"/>
                <a:gd name="T20" fmla="*/ 33 w 48"/>
                <a:gd name="T21" fmla="*/ 35 h 70"/>
                <a:gd name="T22" fmla="*/ 24 w 48"/>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70">
                  <a:moveTo>
                    <a:pt x="24" y="70"/>
                  </a:moveTo>
                  <a:cubicBezTo>
                    <a:pt x="8" y="70"/>
                    <a:pt x="0" y="59"/>
                    <a:pt x="0" y="36"/>
                  </a:cubicBezTo>
                  <a:cubicBezTo>
                    <a:pt x="0" y="24"/>
                    <a:pt x="2" y="16"/>
                    <a:pt x="6" y="9"/>
                  </a:cubicBezTo>
                  <a:cubicBezTo>
                    <a:pt x="10" y="3"/>
                    <a:pt x="17" y="0"/>
                    <a:pt x="25" y="0"/>
                  </a:cubicBezTo>
                  <a:cubicBezTo>
                    <a:pt x="41" y="0"/>
                    <a:pt x="48" y="12"/>
                    <a:pt x="48" y="35"/>
                  </a:cubicBezTo>
                  <a:cubicBezTo>
                    <a:pt x="48" y="46"/>
                    <a:pt x="46" y="55"/>
                    <a:pt x="42" y="61"/>
                  </a:cubicBezTo>
                  <a:cubicBezTo>
                    <a:pt x="38" y="67"/>
                    <a:pt x="32" y="70"/>
                    <a:pt x="24" y="70"/>
                  </a:cubicBezTo>
                  <a:close/>
                  <a:moveTo>
                    <a:pt x="24" y="12"/>
                  </a:moveTo>
                  <a:cubicBezTo>
                    <a:pt x="18" y="12"/>
                    <a:pt x="15" y="20"/>
                    <a:pt x="15" y="36"/>
                  </a:cubicBezTo>
                  <a:cubicBezTo>
                    <a:pt x="15" y="51"/>
                    <a:pt x="18" y="58"/>
                    <a:pt x="24" y="58"/>
                  </a:cubicBezTo>
                  <a:cubicBezTo>
                    <a:pt x="30" y="58"/>
                    <a:pt x="33" y="51"/>
                    <a:pt x="33" y="35"/>
                  </a:cubicBezTo>
                  <a:cubicBezTo>
                    <a:pt x="33" y="19"/>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42" name="Freeform 33"/>
            <p:cNvSpPr>
              <a:spLocks/>
            </p:cNvSpPr>
            <p:nvPr/>
          </p:nvSpPr>
          <p:spPr bwMode="auto">
            <a:xfrm>
              <a:off x="1725802" y="-860750"/>
              <a:ext cx="111125"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7 w 29"/>
                <a:gd name="T11" fmla="*/ 20 h 69"/>
                <a:gd name="T12" fmla="*/ 4 w 29"/>
                <a:gd name="T13" fmla="*/ 22 h 69"/>
                <a:gd name="T14" fmla="*/ 0 w 29"/>
                <a:gd name="T15" fmla="*/ 22 h 69"/>
                <a:gd name="T16" fmla="*/ 0 w 29"/>
                <a:gd name="T17" fmla="*/ 10 h 69"/>
                <a:gd name="T18" fmla="*/ 10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3" y="17"/>
                    <a:pt x="12" y="18"/>
                    <a:pt x="11" y="19"/>
                  </a:cubicBezTo>
                  <a:cubicBezTo>
                    <a:pt x="10" y="19"/>
                    <a:pt x="9" y="20"/>
                    <a:pt x="7" y="20"/>
                  </a:cubicBezTo>
                  <a:cubicBezTo>
                    <a:pt x="6" y="21"/>
                    <a:pt x="5" y="21"/>
                    <a:pt x="4" y="22"/>
                  </a:cubicBezTo>
                  <a:cubicBezTo>
                    <a:pt x="2" y="22"/>
                    <a:pt x="1" y="22"/>
                    <a:pt x="0" y="22"/>
                  </a:cubicBezTo>
                  <a:cubicBezTo>
                    <a:pt x="0" y="10"/>
                    <a:pt x="0" y="10"/>
                    <a:pt x="0" y="10"/>
                  </a:cubicBezTo>
                  <a:cubicBezTo>
                    <a:pt x="3" y="9"/>
                    <a:pt x="7" y="7"/>
                    <a:pt x="10"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43" name="Freeform 34"/>
            <p:cNvSpPr>
              <a:spLocks noEditPoints="1"/>
            </p:cNvSpPr>
            <p:nvPr/>
          </p:nvSpPr>
          <p:spPr bwMode="auto">
            <a:xfrm>
              <a:off x="1908365" y="-860750"/>
              <a:ext cx="185738" cy="265113"/>
            </a:xfrm>
            <a:custGeom>
              <a:avLst/>
              <a:gdLst>
                <a:gd name="T0" fmla="*/ 24 w 49"/>
                <a:gd name="T1" fmla="*/ 70 h 70"/>
                <a:gd name="T2" fmla="*/ 0 w 49"/>
                <a:gd name="T3" fmla="*/ 36 h 70"/>
                <a:gd name="T4" fmla="*/ 7 w 49"/>
                <a:gd name="T5" fmla="*/ 9 h 70"/>
                <a:gd name="T6" fmla="*/ 25 w 49"/>
                <a:gd name="T7" fmla="*/ 0 h 70"/>
                <a:gd name="T8" fmla="*/ 49 w 49"/>
                <a:gd name="T9" fmla="*/ 35 h 70"/>
                <a:gd name="T10" fmla="*/ 42 w 49"/>
                <a:gd name="T11" fmla="*/ 61 h 70"/>
                <a:gd name="T12" fmla="*/ 24 w 49"/>
                <a:gd name="T13" fmla="*/ 70 h 70"/>
                <a:gd name="T14" fmla="*/ 25 w 49"/>
                <a:gd name="T15" fmla="*/ 12 h 70"/>
                <a:gd name="T16" fmla="*/ 15 w 49"/>
                <a:gd name="T17" fmla="*/ 36 h 70"/>
                <a:gd name="T18" fmla="*/ 25 w 49"/>
                <a:gd name="T19" fmla="*/ 58 h 70"/>
                <a:gd name="T20" fmla="*/ 34 w 49"/>
                <a:gd name="T21" fmla="*/ 35 h 70"/>
                <a:gd name="T22" fmla="*/ 25 w 49"/>
                <a:gd name="T23" fmla="*/ 1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70">
                  <a:moveTo>
                    <a:pt x="24" y="70"/>
                  </a:moveTo>
                  <a:cubicBezTo>
                    <a:pt x="8" y="70"/>
                    <a:pt x="0" y="59"/>
                    <a:pt x="0" y="36"/>
                  </a:cubicBezTo>
                  <a:cubicBezTo>
                    <a:pt x="0" y="24"/>
                    <a:pt x="2" y="16"/>
                    <a:pt x="7" y="9"/>
                  </a:cubicBezTo>
                  <a:cubicBezTo>
                    <a:pt x="11" y="3"/>
                    <a:pt x="17" y="0"/>
                    <a:pt x="25" y="0"/>
                  </a:cubicBezTo>
                  <a:cubicBezTo>
                    <a:pt x="41" y="0"/>
                    <a:pt x="49" y="12"/>
                    <a:pt x="49" y="35"/>
                  </a:cubicBezTo>
                  <a:cubicBezTo>
                    <a:pt x="49" y="46"/>
                    <a:pt x="47" y="55"/>
                    <a:pt x="42" y="61"/>
                  </a:cubicBezTo>
                  <a:cubicBezTo>
                    <a:pt x="38" y="67"/>
                    <a:pt x="32" y="70"/>
                    <a:pt x="24" y="70"/>
                  </a:cubicBezTo>
                  <a:close/>
                  <a:moveTo>
                    <a:pt x="25" y="12"/>
                  </a:moveTo>
                  <a:cubicBezTo>
                    <a:pt x="18" y="12"/>
                    <a:pt x="15" y="20"/>
                    <a:pt x="15" y="36"/>
                  </a:cubicBezTo>
                  <a:cubicBezTo>
                    <a:pt x="15" y="51"/>
                    <a:pt x="18" y="58"/>
                    <a:pt x="25" y="58"/>
                  </a:cubicBezTo>
                  <a:cubicBezTo>
                    <a:pt x="31" y="58"/>
                    <a:pt x="34" y="51"/>
                    <a:pt x="34" y="35"/>
                  </a:cubicBezTo>
                  <a:cubicBezTo>
                    <a:pt x="34" y="19"/>
                    <a:pt x="31" y="12"/>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44" name="Freeform 35"/>
            <p:cNvSpPr>
              <a:spLocks/>
            </p:cNvSpPr>
            <p:nvPr/>
          </p:nvSpPr>
          <p:spPr bwMode="auto">
            <a:xfrm>
              <a:off x="2144902" y="-860750"/>
              <a:ext cx="109538" cy="261938"/>
            </a:xfrm>
            <a:custGeom>
              <a:avLst/>
              <a:gdLst>
                <a:gd name="T0" fmla="*/ 29 w 29"/>
                <a:gd name="T1" fmla="*/ 0 h 69"/>
                <a:gd name="T2" fmla="*/ 29 w 29"/>
                <a:gd name="T3" fmla="*/ 69 h 69"/>
                <a:gd name="T4" fmla="*/ 14 w 29"/>
                <a:gd name="T5" fmla="*/ 69 h 69"/>
                <a:gd name="T6" fmla="*/ 14 w 29"/>
                <a:gd name="T7" fmla="*/ 17 h 69"/>
                <a:gd name="T8" fmla="*/ 11 w 29"/>
                <a:gd name="T9" fmla="*/ 19 h 69"/>
                <a:gd name="T10" fmla="*/ 8 w 29"/>
                <a:gd name="T11" fmla="*/ 20 h 69"/>
                <a:gd name="T12" fmla="*/ 4 w 29"/>
                <a:gd name="T13" fmla="*/ 22 h 69"/>
                <a:gd name="T14" fmla="*/ 0 w 29"/>
                <a:gd name="T15" fmla="*/ 22 h 69"/>
                <a:gd name="T16" fmla="*/ 0 w 29"/>
                <a:gd name="T17" fmla="*/ 10 h 69"/>
                <a:gd name="T18" fmla="*/ 11 w 29"/>
                <a:gd name="T19" fmla="*/ 6 h 69"/>
                <a:gd name="T20" fmla="*/ 20 w 29"/>
                <a:gd name="T21" fmla="*/ 0 h 69"/>
                <a:gd name="T22" fmla="*/ 29 w 29"/>
                <a:gd name="T2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69">
                  <a:moveTo>
                    <a:pt x="29" y="0"/>
                  </a:moveTo>
                  <a:cubicBezTo>
                    <a:pt x="29" y="69"/>
                    <a:pt x="29" y="69"/>
                    <a:pt x="29" y="69"/>
                  </a:cubicBezTo>
                  <a:cubicBezTo>
                    <a:pt x="14" y="69"/>
                    <a:pt x="14" y="69"/>
                    <a:pt x="14" y="69"/>
                  </a:cubicBezTo>
                  <a:cubicBezTo>
                    <a:pt x="14" y="17"/>
                    <a:pt x="14" y="17"/>
                    <a:pt x="14" y="17"/>
                  </a:cubicBezTo>
                  <a:cubicBezTo>
                    <a:pt x="14" y="17"/>
                    <a:pt x="13" y="18"/>
                    <a:pt x="11" y="19"/>
                  </a:cubicBezTo>
                  <a:cubicBezTo>
                    <a:pt x="10" y="19"/>
                    <a:pt x="9" y="20"/>
                    <a:pt x="8" y="20"/>
                  </a:cubicBezTo>
                  <a:cubicBezTo>
                    <a:pt x="7" y="21"/>
                    <a:pt x="5" y="21"/>
                    <a:pt x="4" y="22"/>
                  </a:cubicBezTo>
                  <a:cubicBezTo>
                    <a:pt x="3" y="22"/>
                    <a:pt x="1" y="22"/>
                    <a:pt x="0" y="22"/>
                  </a:cubicBezTo>
                  <a:cubicBezTo>
                    <a:pt x="0" y="10"/>
                    <a:pt x="0" y="10"/>
                    <a:pt x="0" y="10"/>
                  </a:cubicBezTo>
                  <a:cubicBezTo>
                    <a:pt x="4" y="9"/>
                    <a:pt x="8" y="7"/>
                    <a:pt x="11" y="6"/>
                  </a:cubicBezTo>
                  <a:cubicBezTo>
                    <a:pt x="14" y="4"/>
                    <a:pt x="17" y="2"/>
                    <a:pt x="20" y="0"/>
                  </a:cubicBez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grpSp>
        <p:nvGrpSpPr>
          <p:cNvPr id="345" name="Group 344"/>
          <p:cNvGrpSpPr/>
          <p:nvPr userDrawn="1"/>
        </p:nvGrpSpPr>
        <p:grpSpPr>
          <a:xfrm>
            <a:off x="6237269" y="2724500"/>
            <a:ext cx="575242" cy="343898"/>
            <a:chOff x="2453634" y="7289176"/>
            <a:chExt cx="3764603" cy="2250921"/>
          </a:xfrm>
          <a:solidFill>
            <a:schemeClr val="bg1">
              <a:lumMod val="85000"/>
            </a:schemeClr>
          </a:solidFill>
        </p:grpSpPr>
        <p:sp>
          <p:nvSpPr>
            <p:cNvPr id="346" name="Freeform 345"/>
            <p:cNvSpPr/>
            <p:nvPr/>
          </p:nvSpPr>
          <p:spPr bwMode="auto">
            <a:xfrm>
              <a:off x="2453634" y="7289176"/>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47" name="Freeform 346"/>
            <p:cNvSpPr/>
            <p:nvPr/>
          </p:nvSpPr>
          <p:spPr bwMode="auto">
            <a:xfrm>
              <a:off x="2453634" y="8088448"/>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48" name="Freeform 347"/>
            <p:cNvSpPr/>
            <p:nvPr/>
          </p:nvSpPr>
          <p:spPr bwMode="auto">
            <a:xfrm>
              <a:off x="2453634" y="8887719"/>
              <a:ext cx="3764603" cy="652378"/>
            </a:xfrm>
            <a:custGeom>
              <a:avLst/>
              <a:gdLst>
                <a:gd name="connsiteX0" fmla="*/ 443404 w 3764603"/>
                <a:gd name="connsiteY0" fmla="*/ 164499 h 652378"/>
                <a:gd name="connsiteX1" fmla="*/ 271887 w 3764603"/>
                <a:gd name="connsiteY1" fmla="*/ 336017 h 652378"/>
                <a:gd name="connsiteX2" fmla="*/ 443404 w 3764603"/>
                <a:gd name="connsiteY2" fmla="*/ 507535 h 652378"/>
                <a:gd name="connsiteX3" fmla="*/ 614921 w 3764603"/>
                <a:gd name="connsiteY3" fmla="*/ 336017 h 652378"/>
                <a:gd name="connsiteX4" fmla="*/ 443404 w 3764603"/>
                <a:gd name="connsiteY4" fmla="*/ 164499 h 652378"/>
                <a:gd name="connsiteX5" fmla="*/ 108732 w 3764603"/>
                <a:gd name="connsiteY5" fmla="*/ 0 h 652378"/>
                <a:gd name="connsiteX6" fmla="*/ 3655871 w 3764603"/>
                <a:gd name="connsiteY6" fmla="*/ 0 h 652378"/>
                <a:gd name="connsiteX7" fmla="*/ 3764603 w 3764603"/>
                <a:gd name="connsiteY7" fmla="*/ 108732 h 652378"/>
                <a:gd name="connsiteX8" fmla="*/ 3764603 w 3764603"/>
                <a:gd name="connsiteY8" fmla="*/ 543646 h 652378"/>
                <a:gd name="connsiteX9" fmla="*/ 3655871 w 3764603"/>
                <a:gd name="connsiteY9" fmla="*/ 652378 h 652378"/>
                <a:gd name="connsiteX10" fmla="*/ 108732 w 3764603"/>
                <a:gd name="connsiteY10" fmla="*/ 652378 h 652378"/>
                <a:gd name="connsiteX11" fmla="*/ 0 w 3764603"/>
                <a:gd name="connsiteY11" fmla="*/ 543646 h 652378"/>
                <a:gd name="connsiteX12" fmla="*/ 0 w 3764603"/>
                <a:gd name="connsiteY12" fmla="*/ 108732 h 652378"/>
                <a:gd name="connsiteX13" fmla="*/ 108732 w 3764603"/>
                <a:gd name="connsiteY13" fmla="*/ 0 h 65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4603" h="652378">
                  <a:moveTo>
                    <a:pt x="443404" y="164499"/>
                  </a:moveTo>
                  <a:cubicBezTo>
                    <a:pt x="348678" y="164499"/>
                    <a:pt x="271887" y="241290"/>
                    <a:pt x="271887" y="336017"/>
                  </a:cubicBezTo>
                  <a:cubicBezTo>
                    <a:pt x="271887" y="430744"/>
                    <a:pt x="348678" y="507535"/>
                    <a:pt x="443404" y="507535"/>
                  </a:cubicBezTo>
                  <a:cubicBezTo>
                    <a:pt x="538130" y="507535"/>
                    <a:pt x="614921" y="430744"/>
                    <a:pt x="614921" y="336017"/>
                  </a:cubicBezTo>
                  <a:cubicBezTo>
                    <a:pt x="614921" y="241290"/>
                    <a:pt x="538130" y="164499"/>
                    <a:pt x="443404" y="164499"/>
                  </a:cubicBezTo>
                  <a:close/>
                  <a:moveTo>
                    <a:pt x="108732" y="0"/>
                  </a:moveTo>
                  <a:lnTo>
                    <a:pt x="3655871" y="0"/>
                  </a:lnTo>
                  <a:cubicBezTo>
                    <a:pt x="3715922" y="0"/>
                    <a:pt x="3764603" y="48681"/>
                    <a:pt x="3764603" y="108732"/>
                  </a:cubicBezTo>
                  <a:lnTo>
                    <a:pt x="3764603" y="543646"/>
                  </a:lnTo>
                  <a:cubicBezTo>
                    <a:pt x="3764603" y="603697"/>
                    <a:pt x="3715922" y="652378"/>
                    <a:pt x="3655871" y="652378"/>
                  </a:cubicBezTo>
                  <a:lnTo>
                    <a:pt x="108732" y="652378"/>
                  </a:lnTo>
                  <a:cubicBezTo>
                    <a:pt x="48681" y="652378"/>
                    <a:pt x="0" y="603697"/>
                    <a:pt x="0" y="543646"/>
                  </a:cubicBezTo>
                  <a:lnTo>
                    <a:pt x="0" y="108732"/>
                  </a:lnTo>
                  <a:cubicBezTo>
                    <a:pt x="0" y="48681"/>
                    <a:pt x="48681" y="0"/>
                    <a:pt x="10873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49" name="Freeform 48"/>
          <p:cNvSpPr>
            <a:spLocks noChangeAspect="1"/>
          </p:cNvSpPr>
          <p:nvPr userDrawn="1"/>
        </p:nvSpPr>
        <p:spPr bwMode="black">
          <a:xfrm>
            <a:off x="7526019" y="3720400"/>
            <a:ext cx="1109909" cy="94768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chemeClr val="bg1">
              <a:lumMod val="85000"/>
            </a:schemeClr>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350" name="Group 349"/>
          <p:cNvGrpSpPr/>
          <p:nvPr userDrawn="1"/>
        </p:nvGrpSpPr>
        <p:grpSpPr>
          <a:xfrm>
            <a:off x="5752462" y="4577413"/>
            <a:ext cx="841776" cy="1171000"/>
            <a:chOff x="9817768" y="3561350"/>
            <a:chExt cx="1937085" cy="2695071"/>
          </a:xfrm>
          <a:solidFill>
            <a:schemeClr val="bg1">
              <a:lumMod val="85000"/>
            </a:schemeClr>
          </a:solidFill>
        </p:grpSpPr>
        <p:sp>
          <p:nvSpPr>
            <p:cNvPr id="351" name="Freeform 350"/>
            <p:cNvSpPr/>
            <p:nvPr/>
          </p:nvSpPr>
          <p:spPr bwMode="auto">
            <a:xfrm>
              <a:off x="9817768" y="3561350"/>
              <a:ext cx="1937085" cy="2695071"/>
            </a:xfrm>
            <a:custGeom>
              <a:avLst/>
              <a:gdLst>
                <a:gd name="connsiteX0" fmla="*/ 204537 w 1937085"/>
                <a:gd name="connsiteY0" fmla="*/ 204535 h 2695071"/>
                <a:gd name="connsiteX1" fmla="*/ 204537 w 1937085"/>
                <a:gd name="connsiteY1" fmla="*/ 2490535 h 2695071"/>
                <a:gd name="connsiteX2" fmla="*/ 1730625 w 1937085"/>
                <a:gd name="connsiteY2" fmla="*/ 2490535 h 2695071"/>
                <a:gd name="connsiteX3" fmla="*/ 1730625 w 1937085"/>
                <a:gd name="connsiteY3" fmla="*/ 204535 h 2695071"/>
                <a:gd name="connsiteX4" fmla="*/ 322854 w 1937085"/>
                <a:gd name="connsiteY4" fmla="*/ 0 h 2695071"/>
                <a:gd name="connsiteX5" fmla="*/ 1614231 w 1937085"/>
                <a:gd name="connsiteY5" fmla="*/ 0 h 2695071"/>
                <a:gd name="connsiteX6" fmla="*/ 1937085 w 1937085"/>
                <a:gd name="connsiteY6" fmla="*/ 322854 h 2695071"/>
                <a:gd name="connsiteX7" fmla="*/ 1937085 w 1937085"/>
                <a:gd name="connsiteY7" fmla="*/ 2372217 h 2695071"/>
                <a:gd name="connsiteX8" fmla="*/ 1614231 w 1937085"/>
                <a:gd name="connsiteY8" fmla="*/ 2695071 h 2695071"/>
                <a:gd name="connsiteX9" fmla="*/ 322854 w 1937085"/>
                <a:gd name="connsiteY9" fmla="*/ 2695071 h 2695071"/>
                <a:gd name="connsiteX10" fmla="*/ 0 w 1937085"/>
                <a:gd name="connsiteY10" fmla="*/ 2372217 h 2695071"/>
                <a:gd name="connsiteX11" fmla="*/ 0 w 1937085"/>
                <a:gd name="connsiteY11" fmla="*/ 322854 h 2695071"/>
                <a:gd name="connsiteX12" fmla="*/ 322854 w 1937085"/>
                <a:gd name="connsiteY12" fmla="*/ 0 h 26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7085" h="2695071">
                  <a:moveTo>
                    <a:pt x="204537" y="204535"/>
                  </a:moveTo>
                  <a:lnTo>
                    <a:pt x="204537" y="2490535"/>
                  </a:lnTo>
                  <a:lnTo>
                    <a:pt x="1730625" y="2490535"/>
                  </a:lnTo>
                  <a:lnTo>
                    <a:pt x="1730625" y="204535"/>
                  </a:lnTo>
                  <a:close/>
                  <a:moveTo>
                    <a:pt x="322854" y="0"/>
                  </a:moveTo>
                  <a:lnTo>
                    <a:pt x="1614231" y="0"/>
                  </a:lnTo>
                  <a:cubicBezTo>
                    <a:pt x="1792538" y="0"/>
                    <a:pt x="1937085" y="144547"/>
                    <a:pt x="1937085" y="322854"/>
                  </a:cubicBezTo>
                  <a:lnTo>
                    <a:pt x="1937085" y="2372217"/>
                  </a:lnTo>
                  <a:cubicBezTo>
                    <a:pt x="1937085" y="2550524"/>
                    <a:pt x="1792538" y="2695071"/>
                    <a:pt x="1614231" y="2695071"/>
                  </a:cubicBezTo>
                  <a:lnTo>
                    <a:pt x="322854" y="2695071"/>
                  </a:lnTo>
                  <a:cubicBezTo>
                    <a:pt x="144547" y="2695071"/>
                    <a:pt x="0" y="2550524"/>
                    <a:pt x="0" y="2372217"/>
                  </a:cubicBezTo>
                  <a:lnTo>
                    <a:pt x="0" y="322854"/>
                  </a:lnTo>
                  <a:cubicBezTo>
                    <a:pt x="0" y="144547"/>
                    <a:pt x="144547" y="0"/>
                    <a:pt x="3228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52" name="Rectangle 351"/>
            <p:cNvSpPr/>
            <p:nvPr/>
          </p:nvSpPr>
          <p:spPr bwMode="auto">
            <a:xfrm>
              <a:off x="10184731" y="4018548"/>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53" name="Rectangle 352"/>
            <p:cNvSpPr/>
            <p:nvPr/>
          </p:nvSpPr>
          <p:spPr bwMode="auto">
            <a:xfrm>
              <a:off x="10184731" y="4421606"/>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54" name="Rectangle 353"/>
            <p:cNvSpPr/>
            <p:nvPr/>
          </p:nvSpPr>
          <p:spPr bwMode="auto">
            <a:xfrm>
              <a:off x="10184731" y="4824664"/>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55" name="Rectangle 354"/>
            <p:cNvSpPr/>
            <p:nvPr/>
          </p:nvSpPr>
          <p:spPr bwMode="auto">
            <a:xfrm>
              <a:off x="10184731" y="5227722"/>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56" name="Rectangle 355"/>
            <p:cNvSpPr/>
            <p:nvPr/>
          </p:nvSpPr>
          <p:spPr bwMode="auto">
            <a:xfrm>
              <a:off x="10184731" y="5630780"/>
              <a:ext cx="1203158" cy="19250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57" name="Freeform 114"/>
          <p:cNvSpPr>
            <a:spLocks noEditPoints="1"/>
          </p:cNvSpPr>
          <p:nvPr userDrawn="1"/>
        </p:nvSpPr>
        <p:spPr bwMode="auto">
          <a:xfrm>
            <a:off x="5097180" y="2541586"/>
            <a:ext cx="549731" cy="549653"/>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8" name="Freeform 357"/>
          <p:cNvSpPr/>
          <p:nvPr userDrawn="1"/>
        </p:nvSpPr>
        <p:spPr bwMode="auto">
          <a:xfrm>
            <a:off x="6818511" y="4483155"/>
            <a:ext cx="474024" cy="512967"/>
          </a:xfrm>
          <a:custGeom>
            <a:avLst/>
            <a:gdLst>
              <a:gd name="connsiteX0" fmla="*/ 301040 w 2755232"/>
              <a:gd name="connsiteY0" fmla="*/ 1098648 h 2982001"/>
              <a:gd name="connsiteX1" fmla="*/ 301040 w 2755232"/>
              <a:gd name="connsiteY1" fmla="*/ 2313272 h 2982001"/>
              <a:gd name="connsiteX2" fmla="*/ 657942 w 2755232"/>
              <a:gd name="connsiteY2" fmla="*/ 2670174 h 2982001"/>
              <a:gd name="connsiteX3" fmla="*/ 2085508 w 2755232"/>
              <a:gd name="connsiteY3" fmla="*/ 2670174 h 2982001"/>
              <a:gd name="connsiteX4" fmla="*/ 2442410 w 2755232"/>
              <a:gd name="connsiteY4" fmla="*/ 2313272 h 2982001"/>
              <a:gd name="connsiteX5" fmla="*/ 2442410 w 2755232"/>
              <a:gd name="connsiteY5" fmla="*/ 1098648 h 2982001"/>
              <a:gd name="connsiteX6" fmla="*/ 657942 w 2755232"/>
              <a:gd name="connsiteY6" fmla="*/ 312869 h 2982001"/>
              <a:gd name="connsiteX7" fmla="*/ 301040 w 2755232"/>
              <a:gd name="connsiteY7" fmla="*/ 669771 h 2982001"/>
              <a:gd name="connsiteX8" fmla="*/ 301040 w 2755232"/>
              <a:gd name="connsiteY8" fmla="*/ 735012 h 2982001"/>
              <a:gd name="connsiteX9" fmla="*/ 2442410 w 2755232"/>
              <a:gd name="connsiteY9" fmla="*/ 735012 h 2982001"/>
              <a:gd name="connsiteX10" fmla="*/ 2442410 w 2755232"/>
              <a:gd name="connsiteY10" fmla="*/ 669771 h 2982001"/>
              <a:gd name="connsiteX11" fmla="*/ 2085508 w 2755232"/>
              <a:gd name="connsiteY11" fmla="*/ 312869 h 2982001"/>
              <a:gd name="connsiteX12" fmla="*/ 459215 w 2755232"/>
              <a:gd name="connsiteY12" fmla="*/ 0 h 2982001"/>
              <a:gd name="connsiteX13" fmla="*/ 2296017 w 2755232"/>
              <a:gd name="connsiteY13" fmla="*/ 0 h 2982001"/>
              <a:gd name="connsiteX14" fmla="*/ 2755232 w 2755232"/>
              <a:gd name="connsiteY14" fmla="*/ 459215 h 2982001"/>
              <a:gd name="connsiteX15" fmla="*/ 2755232 w 2755232"/>
              <a:gd name="connsiteY15" fmla="*/ 2522786 h 2982001"/>
              <a:gd name="connsiteX16" fmla="*/ 2296017 w 2755232"/>
              <a:gd name="connsiteY16" fmla="*/ 2982001 h 2982001"/>
              <a:gd name="connsiteX17" fmla="*/ 459215 w 2755232"/>
              <a:gd name="connsiteY17" fmla="*/ 2982001 h 2982001"/>
              <a:gd name="connsiteX18" fmla="*/ 0 w 2755232"/>
              <a:gd name="connsiteY18" fmla="*/ 2522786 h 2982001"/>
              <a:gd name="connsiteX19" fmla="*/ 0 w 2755232"/>
              <a:gd name="connsiteY19" fmla="*/ 459215 h 2982001"/>
              <a:gd name="connsiteX20" fmla="*/ 459215 w 2755232"/>
              <a:gd name="connsiteY20" fmla="*/ 0 h 298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5232" h="2982001">
                <a:moveTo>
                  <a:pt x="301040" y="1098648"/>
                </a:moveTo>
                <a:lnTo>
                  <a:pt x="301040" y="2313272"/>
                </a:lnTo>
                <a:cubicBezTo>
                  <a:pt x="301040" y="2510384"/>
                  <a:pt x="460830" y="2670174"/>
                  <a:pt x="657942" y="2670174"/>
                </a:cubicBezTo>
                <a:lnTo>
                  <a:pt x="2085508" y="2670174"/>
                </a:lnTo>
                <a:cubicBezTo>
                  <a:pt x="2282620" y="2670174"/>
                  <a:pt x="2442410" y="2510384"/>
                  <a:pt x="2442410" y="2313272"/>
                </a:cubicBezTo>
                <a:lnTo>
                  <a:pt x="2442410" y="1098648"/>
                </a:lnTo>
                <a:close/>
                <a:moveTo>
                  <a:pt x="657942" y="312869"/>
                </a:moveTo>
                <a:cubicBezTo>
                  <a:pt x="460830" y="312869"/>
                  <a:pt x="301040" y="472659"/>
                  <a:pt x="301040" y="669771"/>
                </a:cubicBezTo>
                <a:lnTo>
                  <a:pt x="301040" y="735012"/>
                </a:lnTo>
                <a:lnTo>
                  <a:pt x="2442410" y="735012"/>
                </a:lnTo>
                <a:lnTo>
                  <a:pt x="2442410" y="669771"/>
                </a:lnTo>
                <a:cubicBezTo>
                  <a:pt x="2442410" y="472659"/>
                  <a:pt x="2282620" y="312869"/>
                  <a:pt x="2085508" y="312869"/>
                </a:cubicBezTo>
                <a:close/>
                <a:moveTo>
                  <a:pt x="459215" y="0"/>
                </a:moveTo>
                <a:lnTo>
                  <a:pt x="2296017" y="0"/>
                </a:lnTo>
                <a:cubicBezTo>
                  <a:pt x="2549634" y="0"/>
                  <a:pt x="2755232" y="205598"/>
                  <a:pt x="2755232" y="459215"/>
                </a:cubicBezTo>
                <a:lnTo>
                  <a:pt x="2755232" y="2522786"/>
                </a:lnTo>
                <a:cubicBezTo>
                  <a:pt x="2755232" y="2776403"/>
                  <a:pt x="2549634" y="2982001"/>
                  <a:pt x="2296017" y="2982001"/>
                </a:cubicBezTo>
                <a:lnTo>
                  <a:pt x="459215" y="2982001"/>
                </a:lnTo>
                <a:cubicBezTo>
                  <a:pt x="205598" y="2982001"/>
                  <a:pt x="0" y="2776403"/>
                  <a:pt x="0" y="2522786"/>
                </a:cubicBezTo>
                <a:lnTo>
                  <a:pt x="0" y="459215"/>
                </a:lnTo>
                <a:cubicBezTo>
                  <a:pt x="0" y="205598"/>
                  <a:pt x="205598" y="0"/>
                  <a:pt x="459215" y="0"/>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59" name="Freeform 358"/>
          <p:cNvSpPr/>
          <p:nvPr userDrawn="1"/>
        </p:nvSpPr>
        <p:spPr bwMode="auto">
          <a:xfrm rot="2700000">
            <a:off x="7170233" y="4927477"/>
            <a:ext cx="624696" cy="878170"/>
          </a:xfrm>
          <a:custGeom>
            <a:avLst/>
            <a:gdLst>
              <a:gd name="connsiteX0" fmla="*/ 219849 w 2329245"/>
              <a:gd name="connsiteY0" fmla="*/ 3078205 h 3273880"/>
              <a:gd name="connsiteX1" fmla="*/ 2133570 w 2329245"/>
              <a:gd name="connsiteY1" fmla="*/ 1164484 h 3273880"/>
              <a:gd name="connsiteX2" fmla="*/ 2329245 w 2329245"/>
              <a:gd name="connsiteY2" fmla="*/ 1360159 h 3273880"/>
              <a:gd name="connsiteX3" fmla="*/ 415524 w 2329245"/>
              <a:gd name="connsiteY3" fmla="*/ 3273880 h 3273880"/>
              <a:gd name="connsiteX4" fmla="*/ 967445 w 2329245"/>
              <a:gd name="connsiteY4" fmla="*/ 0 h 3273880"/>
              <a:gd name="connsiteX5" fmla="*/ 1243892 w 2329245"/>
              <a:gd name="connsiteY5" fmla="*/ 361507 h 3273880"/>
              <a:gd name="connsiteX6" fmla="*/ 1115363 w 2329245"/>
              <a:gd name="connsiteY6" fmla="*/ 361507 h 3273880"/>
              <a:gd name="connsiteX7" fmla="*/ 1115363 w 2329245"/>
              <a:gd name="connsiteY7" fmla="*/ 1687691 h 3273880"/>
              <a:gd name="connsiteX8" fmla="*/ 1109292 w 2329245"/>
              <a:gd name="connsiteY8" fmla="*/ 1687691 h 3273880"/>
              <a:gd name="connsiteX9" fmla="*/ 1109292 w 2329245"/>
              <a:gd name="connsiteY9" fmla="*/ 1693762 h 3273880"/>
              <a:gd name="connsiteX10" fmla="*/ 780721 w 2329245"/>
              <a:gd name="connsiteY10" fmla="*/ 1693761 h 3273880"/>
              <a:gd name="connsiteX11" fmla="*/ 780721 w 2329245"/>
              <a:gd name="connsiteY11" fmla="*/ 1694580 h 3273880"/>
              <a:gd name="connsiteX12" fmla="*/ 288759 w 2329245"/>
              <a:gd name="connsiteY12" fmla="*/ 1694580 h 3273880"/>
              <a:gd name="connsiteX13" fmla="*/ 288758 w 2329245"/>
              <a:gd name="connsiteY13" fmla="*/ 2789748 h 3273880"/>
              <a:gd name="connsiteX14" fmla="*/ 290625 w 2329245"/>
              <a:gd name="connsiteY14" fmla="*/ 2799340 h 3273880"/>
              <a:gd name="connsiteX15" fmla="*/ 288758 w 2329245"/>
              <a:gd name="connsiteY15" fmla="*/ 2808933 h 3273880"/>
              <a:gd name="connsiteX16" fmla="*/ 288758 w 2329245"/>
              <a:gd name="connsiteY16" fmla="*/ 2819588 h 3273880"/>
              <a:gd name="connsiteX17" fmla="*/ 286685 w 2329245"/>
              <a:gd name="connsiteY17" fmla="*/ 2819588 h 3273880"/>
              <a:gd name="connsiteX18" fmla="*/ 280074 w 2329245"/>
              <a:gd name="connsiteY18" fmla="*/ 2853563 h 3273880"/>
              <a:gd name="connsiteX19" fmla="*/ 248420 w 2329245"/>
              <a:gd name="connsiteY19" fmla="*/ 2901230 h 3273880"/>
              <a:gd name="connsiteX20" fmla="*/ 44641 w 2329245"/>
              <a:gd name="connsiteY20" fmla="*/ 2901230 h 3273880"/>
              <a:gd name="connsiteX21" fmla="*/ 12987 w 2329245"/>
              <a:gd name="connsiteY21" fmla="*/ 2853563 h 3273880"/>
              <a:gd name="connsiteX22" fmla="*/ 6376 w 2329245"/>
              <a:gd name="connsiteY22" fmla="*/ 2819588 h 3273880"/>
              <a:gd name="connsiteX23" fmla="*/ 1 w 2329245"/>
              <a:gd name="connsiteY23" fmla="*/ 2819588 h 3273880"/>
              <a:gd name="connsiteX24" fmla="*/ 0 w 2329245"/>
              <a:gd name="connsiteY24" fmla="*/ 1411893 h 3273880"/>
              <a:gd name="connsiteX25" fmla="*/ 6072 w 2329245"/>
              <a:gd name="connsiteY25" fmla="*/ 1411892 h 3273880"/>
              <a:gd name="connsiteX26" fmla="*/ 6071 w 2329245"/>
              <a:gd name="connsiteY26" fmla="*/ 1405822 h 3273880"/>
              <a:gd name="connsiteX27" fmla="*/ 334645 w 2329245"/>
              <a:gd name="connsiteY27" fmla="*/ 1405822 h 3273880"/>
              <a:gd name="connsiteX28" fmla="*/ 334644 w 2329245"/>
              <a:gd name="connsiteY28" fmla="*/ 1405003 h 3273880"/>
              <a:gd name="connsiteX29" fmla="*/ 826605 w 2329245"/>
              <a:gd name="connsiteY29" fmla="*/ 1405005 h 3273880"/>
              <a:gd name="connsiteX30" fmla="*/ 826605 w 2329245"/>
              <a:gd name="connsiteY30" fmla="*/ 361507 h 3273880"/>
              <a:gd name="connsiteX31" fmla="*/ 690998 w 2329245"/>
              <a:gd name="connsiteY31" fmla="*/ 361507 h 327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29245" h="3273880">
                <a:moveTo>
                  <a:pt x="219849" y="3078205"/>
                </a:moveTo>
                <a:lnTo>
                  <a:pt x="2133570" y="1164484"/>
                </a:lnTo>
                <a:lnTo>
                  <a:pt x="2329245" y="1360159"/>
                </a:lnTo>
                <a:lnTo>
                  <a:pt x="415524" y="3273880"/>
                </a:lnTo>
                <a:close/>
                <a:moveTo>
                  <a:pt x="967445" y="0"/>
                </a:moveTo>
                <a:lnTo>
                  <a:pt x="1243892" y="361507"/>
                </a:lnTo>
                <a:lnTo>
                  <a:pt x="1115363" y="361507"/>
                </a:lnTo>
                <a:lnTo>
                  <a:pt x="1115363" y="1687691"/>
                </a:lnTo>
                <a:lnTo>
                  <a:pt x="1109292" y="1687691"/>
                </a:lnTo>
                <a:lnTo>
                  <a:pt x="1109292" y="1693762"/>
                </a:lnTo>
                <a:lnTo>
                  <a:pt x="780721" y="1693761"/>
                </a:lnTo>
                <a:lnTo>
                  <a:pt x="780721" y="1694580"/>
                </a:lnTo>
                <a:lnTo>
                  <a:pt x="288759" y="1694580"/>
                </a:lnTo>
                <a:lnTo>
                  <a:pt x="288758" y="2789748"/>
                </a:lnTo>
                <a:lnTo>
                  <a:pt x="290625" y="2799340"/>
                </a:lnTo>
                <a:lnTo>
                  <a:pt x="288758" y="2808933"/>
                </a:lnTo>
                <a:lnTo>
                  <a:pt x="288758" y="2819588"/>
                </a:lnTo>
                <a:lnTo>
                  <a:pt x="286685" y="2819588"/>
                </a:lnTo>
                <a:lnTo>
                  <a:pt x="280074" y="2853563"/>
                </a:lnTo>
                <a:cubicBezTo>
                  <a:pt x="273040" y="2870909"/>
                  <a:pt x="262489" y="2887162"/>
                  <a:pt x="248420" y="2901230"/>
                </a:cubicBezTo>
                <a:cubicBezTo>
                  <a:pt x="192148" y="2957502"/>
                  <a:pt x="100913" y="2957502"/>
                  <a:pt x="44641" y="2901230"/>
                </a:cubicBezTo>
                <a:cubicBezTo>
                  <a:pt x="30572" y="2887162"/>
                  <a:pt x="20021" y="2870909"/>
                  <a:pt x="12987" y="2853563"/>
                </a:cubicBezTo>
                <a:lnTo>
                  <a:pt x="6376" y="2819588"/>
                </a:lnTo>
                <a:lnTo>
                  <a:pt x="1" y="2819588"/>
                </a:lnTo>
                <a:lnTo>
                  <a:pt x="0" y="1411893"/>
                </a:lnTo>
                <a:lnTo>
                  <a:pt x="6072" y="1411892"/>
                </a:lnTo>
                <a:lnTo>
                  <a:pt x="6071" y="1405822"/>
                </a:lnTo>
                <a:lnTo>
                  <a:pt x="334645" y="1405822"/>
                </a:lnTo>
                <a:lnTo>
                  <a:pt x="334644" y="1405003"/>
                </a:lnTo>
                <a:lnTo>
                  <a:pt x="826605" y="1405005"/>
                </a:lnTo>
                <a:lnTo>
                  <a:pt x="826605" y="361507"/>
                </a:lnTo>
                <a:lnTo>
                  <a:pt x="690998" y="36150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60" name="Group 359"/>
          <p:cNvGrpSpPr/>
          <p:nvPr userDrawn="1"/>
        </p:nvGrpSpPr>
        <p:grpSpPr>
          <a:xfrm>
            <a:off x="4175900" y="2228552"/>
            <a:ext cx="737157" cy="380576"/>
            <a:chOff x="7245576" y="-1091036"/>
            <a:chExt cx="1165226" cy="601663"/>
          </a:xfrm>
          <a:solidFill>
            <a:schemeClr val="bg1">
              <a:lumMod val="85000"/>
            </a:schemeClr>
          </a:solidFill>
        </p:grpSpPr>
        <p:sp>
          <p:nvSpPr>
            <p:cNvPr id="361" name="Freeform 39"/>
            <p:cNvSpPr>
              <a:spLocks/>
            </p:cNvSpPr>
            <p:nvPr/>
          </p:nvSpPr>
          <p:spPr bwMode="auto">
            <a:xfrm>
              <a:off x="7245576" y="-967211"/>
              <a:ext cx="328613" cy="369888"/>
            </a:xfrm>
            <a:custGeom>
              <a:avLst/>
              <a:gdLst>
                <a:gd name="T0" fmla="*/ 207 w 207"/>
                <a:gd name="T1" fmla="*/ 233 h 233"/>
                <a:gd name="T2" fmla="*/ 0 w 207"/>
                <a:gd name="T3" fmla="*/ 137 h 233"/>
                <a:gd name="T4" fmla="*/ 0 w 207"/>
                <a:gd name="T5" fmla="*/ 98 h 233"/>
                <a:gd name="T6" fmla="*/ 207 w 207"/>
                <a:gd name="T7" fmla="*/ 0 h 233"/>
                <a:gd name="T8" fmla="*/ 207 w 207"/>
                <a:gd name="T9" fmla="*/ 53 h 233"/>
                <a:gd name="T10" fmla="*/ 59 w 207"/>
                <a:gd name="T11" fmla="*/ 118 h 233"/>
                <a:gd name="T12" fmla="*/ 59 w 207"/>
                <a:gd name="T13" fmla="*/ 118 h 233"/>
                <a:gd name="T14" fmla="*/ 207 w 207"/>
                <a:gd name="T15" fmla="*/ 178 h 233"/>
                <a:gd name="T16" fmla="*/ 207 w 207"/>
                <a:gd name="T17"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233">
                  <a:moveTo>
                    <a:pt x="207" y="233"/>
                  </a:moveTo>
                  <a:lnTo>
                    <a:pt x="0" y="137"/>
                  </a:lnTo>
                  <a:lnTo>
                    <a:pt x="0" y="98"/>
                  </a:lnTo>
                  <a:lnTo>
                    <a:pt x="207" y="0"/>
                  </a:lnTo>
                  <a:lnTo>
                    <a:pt x="207" y="53"/>
                  </a:lnTo>
                  <a:lnTo>
                    <a:pt x="59" y="118"/>
                  </a:lnTo>
                  <a:lnTo>
                    <a:pt x="59" y="118"/>
                  </a:lnTo>
                  <a:lnTo>
                    <a:pt x="207" y="178"/>
                  </a:lnTo>
                  <a:lnTo>
                    <a:pt x="207" y="23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62" name="Freeform 40"/>
            <p:cNvSpPr>
              <a:spLocks/>
            </p:cNvSpPr>
            <p:nvPr/>
          </p:nvSpPr>
          <p:spPr bwMode="auto">
            <a:xfrm>
              <a:off x="7650389" y="-1091036"/>
              <a:ext cx="347663" cy="601663"/>
            </a:xfrm>
            <a:custGeom>
              <a:avLst/>
              <a:gdLst>
                <a:gd name="T0" fmla="*/ 219 w 219"/>
                <a:gd name="T1" fmla="*/ 0 h 379"/>
                <a:gd name="T2" fmla="*/ 62 w 219"/>
                <a:gd name="T3" fmla="*/ 379 h 379"/>
                <a:gd name="T4" fmla="*/ 0 w 219"/>
                <a:gd name="T5" fmla="*/ 379 h 379"/>
                <a:gd name="T6" fmla="*/ 155 w 219"/>
                <a:gd name="T7" fmla="*/ 0 h 379"/>
                <a:gd name="T8" fmla="*/ 219 w 219"/>
                <a:gd name="T9" fmla="*/ 0 h 379"/>
              </a:gdLst>
              <a:ahLst/>
              <a:cxnLst>
                <a:cxn ang="0">
                  <a:pos x="T0" y="T1"/>
                </a:cxn>
                <a:cxn ang="0">
                  <a:pos x="T2" y="T3"/>
                </a:cxn>
                <a:cxn ang="0">
                  <a:pos x="T4" y="T5"/>
                </a:cxn>
                <a:cxn ang="0">
                  <a:pos x="T6" y="T7"/>
                </a:cxn>
                <a:cxn ang="0">
                  <a:pos x="T8" y="T9"/>
                </a:cxn>
              </a:cxnLst>
              <a:rect l="0" t="0" r="r" b="b"/>
              <a:pathLst>
                <a:path w="219" h="379">
                  <a:moveTo>
                    <a:pt x="219" y="0"/>
                  </a:moveTo>
                  <a:lnTo>
                    <a:pt x="62" y="379"/>
                  </a:lnTo>
                  <a:lnTo>
                    <a:pt x="0" y="379"/>
                  </a:lnTo>
                  <a:lnTo>
                    <a:pt x="155" y="0"/>
                  </a:lnTo>
                  <a:lnTo>
                    <a:pt x="219" y="0"/>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63" name="Freeform 41"/>
            <p:cNvSpPr>
              <a:spLocks/>
            </p:cNvSpPr>
            <p:nvPr/>
          </p:nvSpPr>
          <p:spPr bwMode="auto">
            <a:xfrm>
              <a:off x="8082189" y="-971973"/>
              <a:ext cx="328613" cy="368300"/>
            </a:xfrm>
            <a:custGeom>
              <a:avLst/>
              <a:gdLst>
                <a:gd name="T0" fmla="*/ 207 w 207"/>
                <a:gd name="T1" fmla="*/ 135 h 232"/>
                <a:gd name="T2" fmla="*/ 0 w 207"/>
                <a:gd name="T3" fmla="*/ 232 h 232"/>
                <a:gd name="T4" fmla="*/ 0 w 207"/>
                <a:gd name="T5" fmla="*/ 179 h 232"/>
                <a:gd name="T6" fmla="*/ 148 w 207"/>
                <a:gd name="T7" fmla="*/ 118 h 232"/>
                <a:gd name="T8" fmla="*/ 148 w 207"/>
                <a:gd name="T9" fmla="*/ 118 h 232"/>
                <a:gd name="T10" fmla="*/ 0 w 207"/>
                <a:gd name="T11" fmla="*/ 53 h 232"/>
                <a:gd name="T12" fmla="*/ 0 w 207"/>
                <a:gd name="T13" fmla="*/ 0 h 232"/>
                <a:gd name="T14" fmla="*/ 207 w 207"/>
                <a:gd name="T15" fmla="*/ 99 h 232"/>
                <a:gd name="T16" fmla="*/ 207 w 207"/>
                <a:gd name="T17" fmla="*/ 135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232">
                  <a:moveTo>
                    <a:pt x="207" y="135"/>
                  </a:moveTo>
                  <a:lnTo>
                    <a:pt x="0" y="232"/>
                  </a:lnTo>
                  <a:lnTo>
                    <a:pt x="0" y="179"/>
                  </a:lnTo>
                  <a:lnTo>
                    <a:pt x="148" y="118"/>
                  </a:lnTo>
                  <a:lnTo>
                    <a:pt x="148" y="118"/>
                  </a:lnTo>
                  <a:lnTo>
                    <a:pt x="0" y="53"/>
                  </a:lnTo>
                  <a:lnTo>
                    <a:pt x="0" y="0"/>
                  </a:lnTo>
                  <a:lnTo>
                    <a:pt x="207" y="99"/>
                  </a:lnTo>
                  <a:lnTo>
                    <a:pt x="207" y="135"/>
                  </a:lnTo>
                  <a:close/>
                </a:path>
              </a:pathLst>
            </a:custGeom>
            <a:grpFill/>
            <a:ln>
              <a:noFill/>
            </a:ln>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sp>
        <p:nvSpPr>
          <p:cNvPr id="364" name="Oval 363"/>
          <p:cNvSpPr/>
          <p:nvPr userDrawn="1"/>
        </p:nvSpPr>
        <p:spPr bwMode="auto">
          <a:xfrm>
            <a:off x="5363658" y="5424305"/>
            <a:ext cx="236664" cy="236631"/>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65" name="Oval 364"/>
          <p:cNvSpPr/>
          <p:nvPr userDrawn="1"/>
        </p:nvSpPr>
        <p:spPr bwMode="auto">
          <a:xfrm>
            <a:off x="6873007" y="3213483"/>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66" name="Oval 365"/>
          <p:cNvSpPr/>
          <p:nvPr userDrawn="1"/>
        </p:nvSpPr>
        <p:spPr bwMode="auto">
          <a:xfrm>
            <a:off x="4151927" y="4115957"/>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67" name="Oval 366"/>
          <p:cNvSpPr/>
          <p:nvPr userDrawn="1"/>
        </p:nvSpPr>
        <p:spPr bwMode="auto">
          <a:xfrm>
            <a:off x="5826228" y="2737100"/>
            <a:ext cx="145400" cy="145380"/>
          </a:xfrm>
          <a:prstGeom prst="ellipse">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68" name="Freeform 16"/>
          <p:cNvSpPr>
            <a:spLocks noEditPoints="1"/>
          </p:cNvSpPr>
          <p:nvPr userDrawn="1"/>
        </p:nvSpPr>
        <p:spPr bwMode="auto">
          <a:xfrm>
            <a:off x="5661599" y="1131845"/>
            <a:ext cx="400002" cy="348702"/>
          </a:xfrm>
          <a:custGeom>
            <a:avLst/>
            <a:gdLst>
              <a:gd name="T0" fmla="*/ 58 w 77"/>
              <a:gd name="T1" fmla="*/ 0 h 67"/>
              <a:gd name="T2" fmla="*/ 19 w 77"/>
              <a:gd name="T3" fmla="*/ 0 h 67"/>
              <a:gd name="T4" fmla="*/ 0 w 77"/>
              <a:gd name="T5" fmla="*/ 33 h 67"/>
              <a:gd name="T6" fmla="*/ 19 w 77"/>
              <a:gd name="T7" fmla="*/ 67 h 67"/>
              <a:gd name="T8" fmla="*/ 58 w 77"/>
              <a:gd name="T9" fmla="*/ 67 h 67"/>
              <a:gd name="T10" fmla="*/ 77 w 77"/>
              <a:gd name="T11" fmla="*/ 33 h 67"/>
              <a:gd name="T12" fmla="*/ 58 w 77"/>
              <a:gd name="T13" fmla="*/ 0 h 67"/>
              <a:gd name="T14" fmla="*/ 38 w 77"/>
              <a:gd name="T15" fmla="*/ 52 h 67"/>
              <a:gd name="T16" fmla="*/ 19 w 77"/>
              <a:gd name="T17" fmla="*/ 33 h 67"/>
              <a:gd name="T18" fmla="*/ 38 w 77"/>
              <a:gd name="T19" fmla="*/ 14 h 67"/>
              <a:gd name="T20" fmla="*/ 58 w 77"/>
              <a:gd name="T21" fmla="*/ 33 h 67"/>
              <a:gd name="T22" fmla="*/ 38 w 77"/>
              <a:gd name="T23"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67">
                <a:moveTo>
                  <a:pt x="58" y="0"/>
                </a:moveTo>
                <a:cubicBezTo>
                  <a:pt x="19" y="0"/>
                  <a:pt x="19" y="0"/>
                  <a:pt x="19" y="0"/>
                </a:cubicBezTo>
                <a:cubicBezTo>
                  <a:pt x="0" y="33"/>
                  <a:pt x="0" y="33"/>
                  <a:pt x="0" y="33"/>
                </a:cubicBezTo>
                <a:cubicBezTo>
                  <a:pt x="19" y="67"/>
                  <a:pt x="19" y="67"/>
                  <a:pt x="19" y="67"/>
                </a:cubicBezTo>
                <a:cubicBezTo>
                  <a:pt x="58" y="67"/>
                  <a:pt x="58" y="67"/>
                  <a:pt x="58" y="67"/>
                </a:cubicBezTo>
                <a:cubicBezTo>
                  <a:pt x="77" y="33"/>
                  <a:pt x="77" y="33"/>
                  <a:pt x="77" y="33"/>
                </a:cubicBezTo>
                <a:lnTo>
                  <a:pt x="58" y="0"/>
                </a:lnTo>
                <a:close/>
                <a:moveTo>
                  <a:pt x="38" y="52"/>
                </a:moveTo>
                <a:cubicBezTo>
                  <a:pt x="28" y="52"/>
                  <a:pt x="19" y="44"/>
                  <a:pt x="19" y="33"/>
                </a:cubicBezTo>
                <a:cubicBezTo>
                  <a:pt x="19" y="23"/>
                  <a:pt x="28" y="14"/>
                  <a:pt x="38" y="14"/>
                </a:cubicBezTo>
                <a:cubicBezTo>
                  <a:pt x="49" y="14"/>
                  <a:pt x="58" y="23"/>
                  <a:pt x="58" y="33"/>
                </a:cubicBezTo>
                <a:cubicBezTo>
                  <a:pt x="58" y="44"/>
                  <a:pt x="49" y="52"/>
                  <a:pt x="38" y="52"/>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grpSp>
        <p:nvGrpSpPr>
          <p:cNvPr id="369" name="Group 368"/>
          <p:cNvGrpSpPr/>
          <p:nvPr userDrawn="1"/>
        </p:nvGrpSpPr>
        <p:grpSpPr>
          <a:xfrm>
            <a:off x="10721464" y="3513245"/>
            <a:ext cx="1523877" cy="1156953"/>
            <a:chOff x="-1344613" y="4154488"/>
            <a:chExt cx="1787526" cy="1357312"/>
          </a:xfrm>
          <a:solidFill>
            <a:schemeClr val="bg1">
              <a:lumMod val="85000"/>
            </a:schemeClr>
          </a:solidFill>
        </p:grpSpPr>
        <p:sp>
          <p:nvSpPr>
            <p:cNvPr id="370" name="Freeform 5"/>
            <p:cNvSpPr>
              <a:spLocks/>
            </p:cNvSpPr>
            <p:nvPr/>
          </p:nvSpPr>
          <p:spPr bwMode="auto">
            <a:xfrm>
              <a:off x="-1344613" y="4154488"/>
              <a:ext cx="1787526" cy="968375"/>
            </a:xfrm>
            <a:custGeom>
              <a:avLst/>
              <a:gdLst>
                <a:gd name="T0" fmla="*/ 397 w 474"/>
                <a:gd name="T1" fmla="*/ 100 h 256"/>
                <a:gd name="T2" fmla="*/ 399 w 474"/>
                <a:gd name="T3" fmla="*/ 79 h 256"/>
                <a:gd name="T4" fmla="*/ 317 w 474"/>
                <a:gd name="T5" fmla="*/ 0 h 256"/>
                <a:gd name="T6" fmla="*/ 236 w 474"/>
                <a:gd name="T7" fmla="*/ 55 h 256"/>
                <a:gd name="T8" fmla="*/ 186 w 474"/>
                <a:gd name="T9" fmla="*/ 40 h 256"/>
                <a:gd name="T10" fmla="*/ 104 w 474"/>
                <a:gd name="T11" fmla="*/ 102 h 256"/>
                <a:gd name="T12" fmla="*/ 85 w 474"/>
                <a:gd name="T13" fmla="*/ 100 h 256"/>
                <a:gd name="T14" fmla="*/ 0 w 474"/>
                <a:gd name="T15" fmla="*/ 178 h 256"/>
                <a:gd name="T16" fmla="*/ 85 w 474"/>
                <a:gd name="T17" fmla="*/ 256 h 256"/>
                <a:gd name="T18" fmla="*/ 99 w 474"/>
                <a:gd name="T19" fmla="*/ 256 h 256"/>
                <a:gd name="T20" fmla="*/ 99 w 474"/>
                <a:gd name="T21" fmla="*/ 238 h 256"/>
                <a:gd name="T22" fmla="*/ 85 w 474"/>
                <a:gd name="T23" fmla="*/ 238 h 256"/>
                <a:gd name="T24" fmla="*/ 18 w 474"/>
                <a:gd name="T25" fmla="*/ 178 h 256"/>
                <a:gd name="T26" fmla="*/ 85 w 474"/>
                <a:gd name="T27" fmla="*/ 118 h 256"/>
                <a:gd name="T28" fmla="*/ 107 w 474"/>
                <a:gd name="T29" fmla="*/ 123 h 256"/>
                <a:gd name="T30" fmla="*/ 116 w 474"/>
                <a:gd name="T31" fmla="*/ 122 h 256"/>
                <a:gd name="T32" fmla="*/ 120 w 474"/>
                <a:gd name="T33" fmla="*/ 115 h 256"/>
                <a:gd name="T34" fmla="*/ 186 w 474"/>
                <a:gd name="T35" fmla="*/ 58 h 256"/>
                <a:gd name="T36" fmla="*/ 235 w 474"/>
                <a:gd name="T37" fmla="*/ 78 h 256"/>
                <a:gd name="T38" fmla="*/ 244 w 474"/>
                <a:gd name="T39" fmla="*/ 80 h 256"/>
                <a:gd name="T40" fmla="*/ 250 w 474"/>
                <a:gd name="T41" fmla="*/ 72 h 256"/>
                <a:gd name="T42" fmla="*/ 317 w 474"/>
                <a:gd name="T43" fmla="*/ 19 h 256"/>
                <a:gd name="T44" fmla="*/ 381 w 474"/>
                <a:gd name="T45" fmla="*/ 79 h 256"/>
                <a:gd name="T46" fmla="*/ 375 w 474"/>
                <a:gd name="T47" fmla="*/ 107 h 256"/>
                <a:gd name="T48" fmla="*/ 379 w 474"/>
                <a:gd name="T49" fmla="*/ 118 h 256"/>
                <a:gd name="T50" fmla="*/ 389 w 474"/>
                <a:gd name="T51" fmla="*/ 118 h 256"/>
                <a:gd name="T52" fmla="*/ 390 w 474"/>
                <a:gd name="T53" fmla="*/ 118 h 256"/>
                <a:gd name="T54" fmla="*/ 456 w 474"/>
                <a:gd name="T55" fmla="*/ 178 h 256"/>
                <a:gd name="T56" fmla="*/ 390 w 474"/>
                <a:gd name="T57" fmla="*/ 238 h 256"/>
                <a:gd name="T58" fmla="*/ 375 w 474"/>
                <a:gd name="T59" fmla="*/ 238 h 256"/>
                <a:gd name="T60" fmla="*/ 375 w 474"/>
                <a:gd name="T61" fmla="*/ 256 h 256"/>
                <a:gd name="T62" fmla="*/ 390 w 474"/>
                <a:gd name="T63" fmla="*/ 256 h 256"/>
                <a:gd name="T64" fmla="*/ 474 w 474"/>
                <a:gd name="T65" fmla="*/ 178 h 256"/>
                <a:gd name="T66" fmla="*/ 397 w 474"/>
                <a:gd name="T67" fmla="*/ 10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4" h="256">
                  <a:moveTo>
                    <a:pt x="397" y="100"/>
                  </a:moveTo>
                  <a:cubicBezTo>
                    <a:pt x="398" y="93"/>
                    <a:pt x="399" y="86"/>
                    <a:pt x="399" y="79"/>
                  </a:cubicBezTo>
                  <a:cubicBezTo>
                    <a:pt x="399" y="36"/>
                    <a:pt x="362" y="0"/>
                    <a:pt x="317" y="0"/>
                  </a:cubicBezTo>
                  <a:cubicBezTo>
                    <a:pt x="280" y="0"/>
                    <a:pt x="247" y="23"/>
                    <a:pt x="236" y="55"/>
                  </a:cubicBezTo>
                  <a:cubicBezTo>
                    <a:pt x="222" y="45"/>
                    <a:pt x="205" y="40"/>
                    <a:pt x="186" y="40"/>
                  </a:cubicBezTo>
                  <a:cubicBezTo>
                    <a:pt x="145" y="40"/>
                    <a:pt x="111" y="66"/>
                    <a:pt x="104" y="102"/>
                  </a:cubicBezTo>
                  <a:cubicBezTo>
                    <a:pt x="98" y="100"/>
                    <a:pt x="91" y="100"/>
                    <a:pt x="85" y="100"/>
                  </a:cubicBezTo>
                  <a:cubicBezTo>
                    <a:pt x="39" y="100"/>
                    <a:pt x="0" y="135"/>
                    <a:pt x="0" y="178"/>
                  </a:cubicBezTo>
                  <a:cubicBezTo>
                    <a:pt x="0" y="220"/>
                    <a:pt x="39" y="256"/>
                    <a:pt x="85" y="256"/>
                  </a:cubicBezTo>
                  <a:cubicBezTo>
                    <a:pt x="99" y="256"/>
                    <a:pt x="99" y="256"/>
                    <a:pt x="99" y="256"/>
                  </a:cubicBezTo>
                  <a:cubicBezTo>
                    <a:pt x="99" y="238"/>
                    <a:pt x="99" y="238"/>
                    <a:pt x="99" y="238"/>
                  </a:cubicBezTo>
                  <a:cubicBezTo>
                    <a:pt x="85" y="238"/>
                    <a:pt x="85" y="238"/>
                    <a:pt x="85" y="238"/>
                  </a:cubicBezTo>
                  <a:cubicBezTo>
                    <a:pt x="49" y="238"/>
                    <a:pt x="18" y="210"/>
                    <a:pt x="18" y="178"/>
                  </a:cubicBezTo>
                  <a:cubicBezTo>
                    <a:pt x="18" y="145"/>
                    <a:pt x="49" y="118"/>
                    <a:pt x="85" y="118"/>
                  </a:cubicBezTo>
                  <a:cubicBezTo>
                    <a:pt x="93" y="118"/>
                    <a:pt x="100" y="119"/>
                    <a:pt x="107" y="123"/>
                  </a:cubicBezTo>
                  <a:cubicBezTo>
                    <a:pt x="110" y="124"/>
                    <a:pt x="113" y="124"/>
                    <a:pt x="116" y="122"/>
                  </a:cubicBezTo>
                  <a:cubicBezTo>
                    <a:pt x="118" y="121"/>
                    <a:pt x="120" y="118"/>
                    <a:pt x="120" y="115"/>
                  </a:cubicBezTo>
                  <a:cubicBezTo>
                    <a:pt x="122" y="82"/>
                    <a:pt x="150" y="58"/>
                    <a:pt x="186" y="58"/>
                  </a:cubicBezTo>
                  <a:cubicBezTo>
                    <a:pt x="206" y="58"/>
                    <a:pt x="222" y="64"/>
                    <a:pt x="235" y="78"/>
                  </a:cubicBezTo>
                  <a:cubicBezTo>
                    <a:pt x="237" y="80"/>
                    <a:pt x="241" y="81"/>
                    <a:pt x="244" y="80"/>
                  </a:cubicBezTo>
                  <a:cubicBezTo>
                    <a:pt x="248" y="79"/>
                    <a:pt x="250" y="76"/>
                    <a:pt x="250" y="72"/>
                  </a:cubicBezTo>
                  <a:cubicBezTo>
                    <a:pt x="254" y="43"/>
                    <a:pt x="284" y="19"/>
                    <a:pt x="317" y="19"/>
                  </a:cubicBezTo>
                  <a:cubicBezTo>
                    <a:pt x="352" y="19"/>
                    <a:pt x="381" y="46"/>
                    <a:pt x="381" y="79"/>
                  </a:cubicBezTo>
                  <a:cubicBezTo>
                    <a:pt x="381" y="89"/>
                    <a:pt x="379" y="99"/>
                    <a:pt x="375" y="107"/>
                  </a:cubicBezTo>
                  <a:cubicBezTo>
                    <a:pt x="374" y="111"/>
                    <a:pt x="375" y="115"/>
                    <a:pt x="379" y="118"/>
                  </a:cubicBezTo>
                  <a:cubicBezTo>
                    <a:pt x="382" y="120"/>
                    <a:pt x="386" y="120"/>
                    <a:pt x="389" y="118"/>
                  </a:cubicBezTo>
                  <a:cubicBezTo>
                    <a:pt x="390" y="118"/>
                    <a:pt x="390" y="118"/>
                    <a:pt x="390" y="118"/>
                  </a:cubicBezTo>
                  <a:cubicBezTo>
                    <a:pt x="426" y="118"/>
                    <a:pt x="456" y="145"/>
                    <a:pt x="456" y="178"/>
                  </a:cubicBezTo>
                  <a:cubicBezTo>
                    <a:pt x="456" y="211"/>
                    <a:pt x="426" y="238"/>
                    <a:pt x="390" y="238"/>
                  </a:cubicBezTo>
                  <a:cubicBezTo>
                    <a:pt x="375" y="238"/>
                    <a:pt x="375" y="238"/>
                    <a:pt x="375" y="238"/>
                  </a:cubicBezTo>
                  <a:cubicBezTo>
                    <a:pt x="375" y="256"/>
                    <a:pt x="375" y="256"/>
                    <a:pt x="375" y="256"/>
                  </a:cubicBezTo>
                  <a:cubicBezTo>
                    <a:pt x="390" y="256"/>
                    <a:pt x="390" y="256"/>
                    <a:pt x="390" y="256"/>
                  </a:cubicBezTo>
                  <a:cubicBezTo>
                    <a:pt x="436" y="256"/>
                    <a:pt x="474" y="221"/>
                    <a:pt x="474" y="178"/>
                  </a:cubicBezTo>
                  <a:cubicBezTo>
                    <a:pt x="474" y="137"/>
                    <a:pt x="440" y="103"/>
                    <a:pt x="397"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71" name="Freeform 6"/>
            <p:cNvSpPr>
              <a:spLocks/>
            </p:cNvSpPr>
            <p:nvPr/>
          </p:nvSpPr>
          <p:spPr bwMode="auto">
            <a:xfrm>
              <a:off x="-850900" y="4918075"/>
              <a:ext cx="68263" cy="325437"/>
            </a:xfrm>
            <a:custGeom>
              <a:avLst/>
              <a:gdLst>
                <a:gd name="T0" fmla="*/ 0 w 43"/>
                <a:gd name="T1" fmla="*/ 0 h 205"/>
                <a:gd name="T2" fmla="*/ 0 w 43"/>
                <a:gd name="T3" fmla="*/ 186 h 205"/>
                <a:gd name="T4" fmla="*/ 0 w 43"/>
                <a:gd name="T5" fmla="*/ 205 h 205"/>
                <a:gd name="T6" fmla="*/ 43 w 43"/>
                <a:gd name="T7" fmla="*/ 205 h 205"/>
                <a:gd name="T8" fmla="*/ 43 w 43"/>
                <a:gd name="T9" fmla="*/ 186 h 205"/>
                <a:gd name="T10" fmla="*/ 43 w 43"/>
                <a:gd name="T11" fmla="*/ 0 h 205"/>
                <a:gd name="T12" fmla="*/ 0 w 43"/>
                <a:gd name="T13" fmla="*/ 0 h 205"/>
              </a:gdLst>
              <a:ahLst/>
              <a:cxnLst>
                <a:cxn ang="0">
                  <a:pos x="T0" y="T1"/>
                </a:cxn>
                <a:cxn ang="0">
                  <a:pos x="T2" y="T3"/>
                </a:cxn>
                <a:cxn ang="0">
                  <a:pos x="T4" y="T5"/>
                </a:cxn>
                <a:cxn ang="0">
                  <a:pos x="T6" y="T7"/>
                </a:cxn>
                <a:cxn ang="0">
                  <a:pos x="T8" y="T9"/>
                </a:cxn>
                <a:cxn ang="0">
                  <a:pos x="T10" y="T11"/>
                </a:cxn>
                <a:cxn ang="0">
                  <a:pos x="T12" y="T13"/>
                </a:cxn>
              </a:cxnLst>
              <a:rect l="0" t="0" r="r" b="b"/>
              <a:pathLst>
                <a:path w="43" h="205">
                  <a:moveTo>
                    <a:pt x="0" y="0"/>
                  </a:moveTo>
                  <a:lnTo>
                    <a:pt x="0" y="186"/>
                  </a:lnTo>
                  <a:lnTo>
                    <a:pt x="0" y="205"/>
                  </a:lnTo>
                  <a:lnTo>
                    <a:pt x="43" y="205"/>
                  </a:lnTo>
                  <a:lnTo>
                    <a:pt x="43" y="186"/>
                  </a:lnTo>
                  <a:lnTo>
                    <a:pt x="4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72" name="Freeform 7"/>
            <p:cNvSpPr>
              <a:spLocks/>
            </p:cNvSpPr>
            <p:nvPr/>
          </p:nvSpPr>
          <p:spPr bwMode="auto">
            <a:xfrm>
              <a:off x="-615950" y="4945063"/>
              <a:ext cx="68263" cy="487362"/>
            </a:xfrm>
            <a:custGeom>
              <a:avLst/>
              <a:gdLst>
                <a:gd name="T0" fmla="*/ 43 w 43"/>
                <a:gd name="T1" fmla="*/ 0 h 307"/>
                <a:gd name="T2" fmla="*/ 0 w 43"/>
                <a:gd name="T3" fmla="*/ 0 h 307"/>
                <a:gd name="T4" fmla="*/ 0 w 43"/>
                <a:gd name="T5" fmla="*/ 169 h 307"/>
                <a:gd name="T6" fmla="*/ 0 w 43"/>
                <a:gd name="T7" fmla="*/ 307 h 307"/>
                <a:gd name="T8" fmla="*/ 43 w 43"/>
                <a:gd name="T9" fmla="*/ 307 h 307"/>
                <a:gd name="T10" fmla="*/ 43 w 43"/>
                <a:gd name="T11" fmla="*/ 169 h 307"/>
                <a:gd name="T12" fmla="*/ 43 w 43"/>
                <a:gd name="T13" fmla="*/ 0 h 307"/>
              </a:gdLst>
              <a:ahLst/>
              <a:cxnLst>
                <a:cxn ang="0">
                  <a:pos x="T0" y="T1"/>
                </a:cxn>
                <a:cxn ang="0">
                  <a:pos x="T2" y="T3"/>
                </a:cxn>
                <a:cxn ang="0">
                  <a:pos x="T4" y="T5"/>
                </a:cxn>
                <a:cxn ang="0">
                  <a:pos x="T6" y="T7"/>
                </a:cxn>
                <a:cxn ang="0">
                  <a:pos x="T8" y="T9"/>
                </a:cxn>
                <a:cxn ang="0">
                  <a:pos x="T10" y="T11"/>
                </a:cxn>
                <a:cxn ang="0">
                  <a:pos x="T12" y="T13"/>
                </a:cxn>
              </a:cxnLst>
              <a:rect l="0" t="0" r="r" b="b"/>
              <a:pathLst>
                <a:path w="43" h="307">
                  <a:moveTo>
                    <a:pt x="43" y="0"/>
                  </a:moveTo>
                  <a:lnTo>
                    <a:pt x="0" y="0"/>
                  </a:lnTo>
                  <a:lnTo>
                    <a:pt x="0" y="169"/>
                  </a:lnTo>
                  <a:lnTo>
                    <a:pt x="0" y="307"/>
                  </a:lnTo>
                  <a:lnTo>
                    <a:pt x="43" y="307"/>
                  </a:lnTo>
                  <a:lnTo>
                    <a:pt x="43" y="169"/>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73" name="Freeform 8"/>
            <p:cNvSpPr>
              <a:spLocks/>
            </p:cNvSpPr>
            <p:nvPr/>
          </p:nvSpPr>
          <p:spPr bwMode="auto">
            <a:xfrm>
              <a:off x="-382587" y="4857750"/>
              <a:ext cx="68263" cy="654050"/>
            </a:xfrm>
            <a:custGeom>
              <a:avLst/>
              <a:gdLst>
                <a:gd name="T0" fmla="*/ 0 w 43"/>
                <a:gd name="T1" fmla="*/ 224 h 412"/>
                <a:gd name="T2" fmla="*/ 0 w 43"/>
                <a:gd name="T3" fmla="*/ 412 h 412"/>
                <a:gd name="T4" fmla="*/ 43 w 43"/>
                <a:gd name="T5" fmla="*/ 412 h 412"/>
                <a:gd name="T6" fmla="*/ 43 w 43"/>
                <a:gd name="T7" fmla="*/ 224 h 412"/>
                <a:gd name="T8" fmla="*/ 43 w 43"/>
                <a:gd name="T9" fmla="*/ 0 h 412"/>
                <a:gd name="T10" fmla="*/ 0 w 43"/>
                <a:gd name="T11" fmla="*/ 0 h 412"/>
                <a:gd name="T12" fmla="*/ 0 w 43"/>
                <a:gd name="T13" fmla="*/ 224 h 412"/>
              </a:gdLst>
              <a:ahLst/>
              <a:cxnLst>
                <a:cxn ang="0">
                  <a:pos x="T0" y="T1"/>
                </a:cxn>
                <a:cxn ang="0">
                  <a:pos x="T2" y="T3"/>
                </a:cxn>
                <a:cxn ang="0">
                  <a:pos x="T4" y="T5"/>
                </a:cxn>
                <a:cxn ang="0">
                  <a:pos x="T6" y="T7"/>
                </a:cxn>
                <a:cxn ang="0">
                  <a:pos x="T8" y="T9"/>
                </a:cxn>
                <a:cxn ang="0">
                  <a:pos x="T10" y="T11"/>
                </a:cxn>
                <a:cxn ang="0">
                  <a:pos x="T12" y="T13"/>
                </a:cxn>
              </a:cxnLst>
              <a:rect l="0" t="0" r="r" b="b"/>
              <a:pathLst>
                <a:path w="43" h="412">
                  <a:moveTo>
                    <a:pt x="0" y="224"/>
                  </a:moveTo>
                  <a:lnTo>
                    <a:pt x="0" y="412"/>
                  </a:lnTo>
                  <a:lnTo>
                    <a:pt x="43" y="412"/>
                  </a:lnTo>
                  <a:lnTo>
                    <a:pt x="43" y="224"/>
                  </a:lnTo>
                  <a:lnTo>
                    <a:pt x="43" y="0"/>
                  </a:lnTo>
                  <a:lnTo>
                    <a:pt x="0" y="0"/>
                  </a:lnTo>
                  <a:lnTo>
                    <a:pt x="0"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sp>
          <p:nvSpPr>
            <p:cNvPr id="374" name="Freeform 9"/>
            <p:cNvSpPr>
              <a:spLocks/>
            </p:cNvSpPr>
            <p:nvPr/>
          </p:nvSpPr>
          <p:spPr bwMode="auto">
            <a:xfrm>
              <a:off x="-152400" y="4899025"/>
              <a:ext cx="71438" cy="488950"/>
            </a:xfrm>
            <a:custGeom>
              <a:avLst/>
              <a:gdLst>
                <a:gd name="T0" fmla="*/ 0 w 45"/>
                <a:gd name="T1" fmla="*/ 198 h 308"/>
                <a:gd name="T2" fmla="*/ 0 w 45"/>
                <a:gd name="T3" fmla="*/ 308 h 308"/>
                <a:gd name="T4" fmla="*/ 45 w 45"/>
                <a:gd name="T5" fmla="*/ 308 h 308"/>
                <a:gd name="T6" fmla="*/ 45 w 45"/>
                <a:gd name="T7" fmla="*/ 198 h 308"/>
                <a:gd name="T8" fmla="*/ 45 w 45"/>
                <a:gd name="T9" fmla="*/ 0 h 308"/>
                <a:gd name="T10" fmla="*/ 0 w 45"/>
                <a:gd name="T11" fmla="*/ 0 h 308"/>
                <a:gd name="T12" fmla="*/ 0 w 45"/>
                <a:gd name="T13" fmla="*/ 198 h 308"/>
              </a:gdLst>
              <a:ahLst/>
              <a:cxnLst>
                <a:cxn ang="0">
                  <a:pos x="T0" y="T1"/>
                </a:cxn>
                <a:cxn ang="0">
                  <a:pos x="T2" y="T3"/>
                </a:cxn>
                <a:cxn ang="0">
                  <a:pos x="T4" y="T5"/>
                </a:cxn>
                <a:cxn ang="0">
                  <a:pos x="T6" y="T7"/>
                </a:cxn>
                <a:cxn ang="0">
                  <a:pos x="T8" y="T9"/>
                </a:cxn>
                <a:cxn ang="0">
                  <a:pos x="T10" y="T11"/>
                </a:cxn>
                <a:cxn ang="0">
                  <a:pos x="T12" y="T13"/>
                </a:cxn>
              </a:cxnLst>
              <a:rect l="0" t="0" r="r" b="b"/>
              <a:pathLst>
                <a:path w="45" h="308">
                  <a:moveTo>
                    <a:pt x="0" y="198"/>
                  </a:moveTo>
                  <a:lnTo>
                    <a:pt x="0" y="308"/>
                  </a:lnTo>
                  <a:lnTo>
                    <a:pt x="45" y="308"/>
                  </a:lnTo>
                  <a:lnTo>
                    <a:pt x="45" y="198"/>
                  </a:lnTo>
                  <a:lnTo>
                    <a:pt x="45" y="0"/>
                  </a:lnTo>
                  <a:lnTo>
                    <a:pt x="0" y="0"/>
                  </a:lnTo>
                  <a:lnTo>
                    <a:pt x="0"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solidFill>
                  <a:srgbClr val="000000"/>
                </a:solidFill>
              </a:endParaRPr>
            </a:p>
          </p:txBody>
        </p:sp>
      </p:grpSp>
      <p:sp>
        <p:nvSpPr>
          <p:cNvPr id="375" name="Rectangle 374"/>
          <p:cNvSpPr/>
          <p:nvPr userDrawn="1"/>
        </p:nvSpPr>
        <p:spPr bwMode="auto">
          <a:xfrm>
            <a:off x="-1" y="-1"/>
            <a:ext cx="12436477" cy="7011873"/>
          </a:xfrm>
          <a:prstGeom prst="rect">
            <a:avLst/>
          </a:prstGeom>
          <a:solidFill>
            <a:srgbClr val="5C82A0">
              <a:alpha val="83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userDrawn="1"/>
        </p:nvSpPr>
        <p:spPr bwMode="auto">
          <a:xfrm>
            <a:off x="-823916" y="-1896294"/>
            <a:ext cx="13846208" cy="1865207"/>
          </a:xfrm>
          <a:prstGeom prst="rect">
            <a:avLst/>
          </a:prstGeom>
          <a:solidFill>
            <a:srgbClr val="FDFDF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userDrawn="1"/>
        </p:nvSpPr>
        <p:spPr bwMode="auto">
          <a:xfrm>
            <a:off x="-823916" y="7041122"/>
            <a:ext cx="13846208" cy="1865207"/>
          </a:xfrm>
          <a:prstGeom prst="rect">
            <a:avLst/>
          </a:prstGeom>
          <a:solidFill>
            <a:srgbClr val="F1F1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userDrawn="1"/>
        </p:nvSpPr>
        <p:spPr bwMode="auto">
          <a:xfrm>
            <a:off x="-1134828" y="-42616"/>
            <a:ext cx="1121881" cy="7104914"/>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userDrawn="1"/>
        </p:nvSpPr>
        <p:spPr bwMode="auto">
          <a:xfrm>
            <a:off x="12450531" y="-42616"/>
            <a:ext cx="1121881" cy="7104914"/>
          </a:xfrm>
          <a:prstGeom prst="rect">
            <a:avLst/>
          </a:prstGeom>
          <a:solidFill>
            <a:srgbClr val="F6F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0637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33855269"/>
      </p:ext>
    </p:extLst>
  </p:cSld>
  <p:clrMapOvr>
    <a:masterClrMapping/>
  </p:clrMapOvr>
  <p:transition>
    <p:fade/>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4163231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100000">
                      <a:schemeClr val="tx2"/>
                    </a:gs>
                    <a:gs pos="0">
                      <a:schemeClr val="tx2"/>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3" y="3955786"/>
            <a:ext cx="7315137" cy="1828007"/>
          </a:xfrm>
          <a:noFill/>
        </p:spPr>
        <p:txBody>
          <a:bodyPr lIns="146304" tIns="109728" rIns="146304"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103" y="5969773"/>
            <a:ext cx="1995238" cy="733936"/>
          </a:xfrm>
          <a:prstGeom prst="rect">
            <a:avLst/>
          </a:prstGeom>
        </p:spPr>
      </p:pic>
    </p:spTree>
    <p:extLst>
      <p:ext uri="{BB962C8B-B14F-4D97-AF65-F5344CB8AC3E}">
        <p14:creationId xmlns:p14="http://schemas.microsoft.com/office/powerpoint/2010/main" val="14871106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1716824"/>
      </p:ext>
    </p:extLst>
  </p:cSld>
  <p:clrMapOvr>
    <a:masterClrMapping/>
  </p:clrMapOvr>
  <p:transition>
    <p:fade/>
  </p:transition>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1456339"/>
      </p:ext>
    </p:extLst>
  </p:cSld>
  <p:clrMapOvr>
    <a:masterClrMapping/>
  </p:clrMapOvr>
  <p:transition>
    <p:fade/>
  </p:transition>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4765766"/>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90283924"/>
      </p:ext>
    </p:extLst>
  </p:cSld>
  <p:clrMapOvr>
    <a:masterClrMapping/>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gradFill>
                  <a:gsLst>
                    <a:gs pos="1250">
                      <a:schemeClr val="tx2"/>
                    </a:gs>
                    <a:gs pos="99000">
                      <a:schemeClr val="tx2"/>
                    </a:gs>
                  </a:gsLst>
                  <a:lin ang="5400000" scaled="0"/>
                </a:gradFill>
              </a:defRPr>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72349934"/>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59510767"/>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2"/>
              </a:buClr>
              <a:buFont typeface="Arial" pitchFamily="34" charset="0"/>
              <a:buChar char="•"/>
              <a:defRPr sz="3198">
                <a:gradFill>
                  <a:gsLst>
                    <a:gs pos="1250">
                      <a:schemeClr val="tx2"/>
                    </a:gs>
                    <a:gs pos="99000">
                      <a:schemeClr val="tx2"/>
                    </a:gs>
                  </a:gsLst>
                  <a:lin ang="5400000" scaled="0"/>
                </a:gradFill>
              </a:defRPr>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5613770"/>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1"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551867"/>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84207496"/>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0" y="3954463"/>
            <a:ext cx="10058401" cy="738664"/>
          </a:xfrm>
          <a:noFill/>
        </p:spPr>
        <p:txBody>
          <a:bodyPr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104341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5"/>
            <a:ext cx="10056812" cy="1181862"/>
          </a:xfrm>
          <a:noFill/>
        </p:spPr>
        <p:txBody>
          <a:bodyPr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Tree>
    <p:extLst>
      <p:ext uri="{BB962C8B-B14F-4D97-AF65-F5344CB8AC3E}">
        <p14:creationId xmlns:p14="http://schemas.microsoft.com/office/powerpoint/2010/main" val="1699793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85785856"/>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091561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891381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675188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419191"/>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52793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0740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240470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9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97464114"/>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2"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2" y="3145040"/>
            <a:ext cx="3291840" cy="705834"/>
          </a:xfrm>
          <a:prstGeom prst="rect">
            <a:avLst/>
          </a:prstGeom>
        </p:spPr>
      </p:pic>
      <p:sp>
        <p:nvSpPr>
          <p:cNvPr id="2" name="Text Box 3"/>
          <p:cNvSpPr txBox="1">
            <a:spLocks noChangeArrowheads="1"/>
          </p:cNvSpPr>
          <p:nvPr userDrawn="1"/>
        </p:nvSpPr>
        <p:spPr bwMode="blackWhite">
          <a:xfrm>
            <a:off x="274638" y="6294478"/>
            <a:ext cx="11887199" cy="403187"/>
          </a:xfrm>
          <a:prstGeom prst="rect">
            <a:avLst/>
          </a:prstGeom>
          <a:noFill/>
          <a:ln w="12700">
            <a:noFill/>
            <a:miter lim="800000"/>
            <a:headEnd type="none" w="sm" len="sm"/>
            <a:tailEnd type="none" w="sm" len="sm"/>
          </a:ln>
          <a:effectLst/>
        </p:spPr>
        <p:txBody>
          <a:bodyPr vert="horz" wrap="square" lIns="182828" tIns="146262" rIns="182828" bIns="146262" numCol="1" anchor="t" anchorCtr="0" compatLnSpc="1">
            <a:prstTxWarp prst="textNoShape">
              <a:avLst/>
            </a:prstTxWarp>
            <a:spAutoFit/>
          </a:bodyPr>
          <a:lstStyle/>
          <a:p>
            <a:pPr defTabSz="931932" eaLnBrk="0" hangingPunct="0"/>
            <a:r>
              <a:rPr lang="en-US" sz="700" dirty="0">
                <a:gradFill>
                  <a:gsLst>
                    <a:gs pos="0">
                      <a:srgbClr val="505050"/>
                    </a:gs>
                    <a:gs pos="100000">
                      <a:srgbClr val="505050"/>
                    </a:gs>
                  </a:gsLst>
                  <a:lin ang="5400000" scaled="0"/>
                </a:gradFill>
                <a:cs typeface="Segoe UI" pitchFamily="34" charset="0"/>
              </a:rPr>
              <a:t>© 2014 Microsoft Corporation. All rights reserved. </a:t>
            </a:r>
          </a:p>
        </p:txBody>
      </p:sp>
    </p:spTree>
    <p:extLst>
      <p:ext uri="{BB962C8B-B14F-4D97-AF65-F5344CB8AC3E}">
        <p14:creationId xmlns:p14="http://schemas.microsoft.com/office/powerpoint/2010/main" val="1988711312"/>
      </p:ext>
    </p:extLst>
  </p:cSld>
  <p:clrMapOvr>
    <a:masterClrMapping/>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9332655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38" y="2071456"/>
            <a:ext cx="10463986" cy="1720381"/>
          </a:xfrm>
          <a:prstGeom prst="rect">
            <a:avLst/>
          </a:prstGeom>
        </p:spPr>
        <p:txBody>
          <a:bodyPr lIns="146304" tIns="91440" rIns="146304" bIns="91440"/>
          <a:lstStyle>
            <a:lvl1pPr algn="l">
              <a:defRPr sz="5997">
                <a:gradFill>
                  <a:gsLst>
                    <a:gs pos="0">
                      <a:srgbClr val="FFFFFF"/>
                    </a:gs>
                    <a:gs pos="100000">
                      <a:srgbClr val="FFFFFF"/>
                    </a:gs>
                  </a:gsLst>
                  <a:lin ang="5400000" scaled="0"/>
                </a:gradFill>
              </a:defRPr>
            </a:lvl1pPr>
          </a:lstStyle>
          <a:p>
            <a:r>
              <a:rPr lang="en-US" dirty="0" smtClean="0"/>
              <a:t>Data insights headline</a:t>
            </a:r>
            <a:endParaRPr lang="en-US" dirty="0"/>
          </a:p>
        </p:txBody>
      </p:sp>
    </p:spTree>
    <p:extLst>
      <p:ext uri="{BB962C8B-B14F-4D97-AF65-F5344CB8AC3E}">
        <p14:creationId xmlns:p14="http://schemas.microsoft.com/office/powerpoint/2010/main" val="46855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7">
                <a:solidFill>
                  <a:schemeClr val="tx2"/>
                </a:solidFill>
                <a:latin typeface="+mj-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9093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smtClean="0"/>
              <a:t>Click to edit Master title style</a:t>
            </a:r>
            <a:endParaRPr lang="en-US" dirty="0"/>
          </a:p>
        </p:txBody>
      </p:sp>
      <p:sp>
        <p:nvSpPr>
          <p:cNvPr id="10" name="Title"/>
          <p:cNvSpPr>
            <a:spLocks noGrp="1"/>
          </p:cNvSpPr>
          <p:nvPr>
            <p:ph type="body" sz="quarter" idx="10" hasCustomPrompt="1"/>
          </p:nvPr>
        </p:nvSpPr>
        <p:spPr>
          <a:xfrm>
            <a:off x="274638" y="2125666"/>
            <a:ext cx="10058400" cy="2483372"/>
          </a:xfrm>
          <a:prstGeom prst="rect">
            <a:avLst/>
          </a:prstGeom>
        </p:spPr>
        <p:txBody>
          <a:bodyPr/>
          <a:lstStyle>
            <a:lvl1pPr marL="0" indent="0">
              <a:buNone/>
              <a:defRPr sz="16591">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Demo</a:t>
            </a:r>
            <a:endParaRPr lang="en-US" dirty="0"/>
          </a:p>
        </p:txBody>
      </p:sp>
    </p:spTree>
    <p:extLst>
      <p:ext uri="{BB962C8B-B14F-4D97-AF65-F5344CB8AC3E}">
        <p14:creationId xmlns:p14="http://schemas.microsoft.com/office/powerpoint/2010/main" val="2523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3127931"/>
            <a:ext cx="12436475" cy="738664"/>
          </a:xfrm>
          <a:prstGeom prst="rect">
            <a:avLst/>
          </a:prstGeom>
        </p:spPr>
        <p:txBody>
          <a:bodyPr anchor="ctr"/>
          <a:lstStyle>
            <a:lvl1pPr marL="0" indent="0">
              <a:buNone/>
              <a:defRPr baseline="0"/>
            </a:lvl1pPr>
          </a:lstStyle>
          <a:p>
            <a:r>
              <a:rPr lang="en-US" dirty="0" smtClean="0"/>
              <a:t>click icon to insert photo</a:t>
            </a:r>
            <a:endParaRPr lang="en-US" dirty="0"/>
          </a:p>
        </p:txBody>
      </p:sp>
      <p:sp>
        <p:nvSpPr>
          <p:cNvPr id="7" name="Text Placeholder 4"/>
          <p:cNvSpPr>
            <a:spLocks noGrp="1"/>
          </p:cNvSpPr>
          <p:nvPr>
            <p:ph type="body" sz="quarter" idx="12"/>
          </p:nvPr>
        </p:nvSpPr>
        <p:spPr>
          <a:xfrm>
            <a:off x="274639" y="296870"/>
            <a:ext cx="10972802" cy="1130491"/>
          </a:xfrm>
          <a:prstGeom prst="rect">
            <a:avLst/>
          </a:prstGeom>
        </p:spPr>
        <p:txBody>
          <a:bodyPr lIns="146304" tIns="91440" rIns="146304" bIns="91440">
            <a:noAutofit/>
          </a:bodyPr>
          <a:lstStyle>
            <a:lvl1pPr marL="0" indent="0">
              <a:lnSpc>
                <a:spcPct val="90000"/>
              </a:lnSpc>
              <a:spcBef>
                <a:spcPts val="1196"/>
              </a:spcBef>
              <a:spcAft>
                <a:spcPts val="2402"/>
              </a:spcAft>
              <a:buFontTx/>
              <a:buNone/>
              <a:defRPr lang="en-US" sz="7000" b="0" i="0" kern="1200" spc="0" baseline="0" dirty="0" smtClean="0">
                <a:solidFill>
                  <a:schemeClr val="bg1"/>
                </a:solidFill>
                <a:latin typeface="+mj-lt"/>
                <a:ea typeface="+mn-ea"/>
                <a:cs typeface="+mn-cs"/>
              </a:defRPr>
            </a:lvl1pPr>
          </a:lstStyle>
          <a:p>
            <a:pPr marL="0" marR="0" lvl="0" indent="0" algn="l" defTabSz="932364" rtl="0" eaLnBrk="1" fontAlgn="auto" latinLnBrk="0" hangingPunct="1">
              <a:lnSpc>
                <a:spcPct val="90000"/>
              </a:lnSpc>
              <a:spcBef>
                <a:spcPts val="1196"/>
              </a:spcBef>
              <a:spcAft>
                <a:spcPts val="2402"/>
              </a:spcAft>
              <a:buClrTx/>
              <a:buSzPct val="90000"/>
              <a:buFontTx/>
              <a:buNone/>
              <a:tabLst/>
            </a:pPr>
            <a:r>
              <a:rPr lang="en-US" dirty="0" smtClean="0"/>
              <a:t>Click to edit Master text</a:t>
            </a:r>
          </a:p>
        </p:txBody>
      </p:sp>
    </p:spTree>
    <p:extLst>
      <p:ext uri="{BB962C8B-B14F-4D97-AF65-F5344CB8AC3E}">
        <p14:creationId xmlns:p14="http://schemas.microsoft.com/office/powerpoint/2010/main" val="173284391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5507" y="6678218"/>
            <a:ext cx="822951" cy="175415"/>
          </a:xfrm>
          <a:prstGeom prst="rect">
            <a:avLst/>
          </a:prstGeom>
        </p:spPr>
      </p:pic>
      <p:sp>
        <p:nvSpPr>
          <p:cNvPr id="9" name="Rectangle 8"/>
          <p:cNvSpPr/>
          <p:nvPr userDrawn="1"/>
        </p:nvSpPr>
        <p:spPr>
          <a:xfrm>
            <a:off x="488677" y="3033651"/>
            <a:ext cx="4652598" cy="797654"/>
          </a:xfrm>
          <a:prstGeom prst="rect">
            <a:avLst/>
          </a:prstGeom>
        </p:spPr>
        <p:txBody>
          <a:bodyPr wrap="none" anchor="ctr">
            <a:spAutoFit/>
          </a:bodyPr>
          <a:lstStyle/>
          <a:p>
            <a:pPr algn="r" defTabSz="1165834">
              <a:lnSpc>
                <a:spcPct val="90000"/>
              </a:lnSpc>
              <a:spcBef>
                <a:spcPct val="0"/>
              </a:spcBef>
            </a:pPr>
            <a:r>
              <a:rPr lang="en-US" sz="5000" spc="-125" dirty="0" smtClean="0">
                <a:ln w="3175">
                  <a:noFill/>
                </a:ln>
                <a:solidFill>
                  <a:srgbClr val="FFFFFF"/>
                </a:solidFill>
                <a:latin typeface="Segoe UI Light"/>
                <a:cs typeface="Segoe UI" pitchFamily="34" charset="0"/>
              </a:rPr>
              <a:t>Spark the future.</a:t>
            </a:r>
            <a:endParaRPr lang="en-US" sz="5000" spc="-125" dirty="0">
              <a:ln w="3175">
                <a:noFill/>
              </a:ln>
              <a:solidFill>
                <a:srgbClr val="FFFFFF"/>
              </a:solidFill>
              <a:latin typeface="Segoe UI Light"/>
              <a:cs typeface="Segoe UI" pitchFamily="34" charset="0"/>
            </a:endParaRPr>
          </a:p>
        </p:txBody>
      </p:sp>
      <p:sp>
        <p:nvSpPr>
          <p:cNvPr id="10" name="Rectangle 9"/>
          <p:cNvSpPr/>
          <p:nvPr userDrawn="1"/>
        </p:nvSpPr>
        <p:spPr>
          <a:xfrm>
            <a:off x="2890023"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580922" y="4088040"/>
            <a:ext cx="2494315" cy="384949"/>
          </a:xfrm>
          <a:prstGeom prst="rect">
            <a:avLst/>
          </a:prstGeom>
        </p:spPr>
      </p:pic>
    </p:spTree>
    <p:extLst>
      <p:ext uri="{BB962C8B-B14F-4D97-AF65-F5344CB8AC3E}">
        <p14:creationId xmlns:p14="http://schemas.microsoft.com/office/powerpoint/2010/main" val="35849637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448477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4532730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311824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213585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4375633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5687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602860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23184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92923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09118127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8209293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826496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5023740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6498949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141322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749669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161502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22374746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873162"/>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223525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522118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6964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641264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364770401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37367605"/>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4225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a:lnSpc>
                <a:spcPct val="90000"/>
              </a:lnSpc>
              <a:spcBef>
                <a:spcPct val="0"/>
              </a:spcBef>
            </a:pPr>
            <a:r>
              <a:rPr lang="en-US" sz="5000" spc="-125" dirty="0" smtClean="0">
                <a:ln w="3175">
                  <a:noFill/>
                </a:ln>
                <a:gradFill>
                  <a:gsLst>
                    <a:gs pos="84066">
                      <a:srgbClr val="000000"/>
                    </a:gs>
                    <a:gs pos="57576">
                      <a:srgbClr val="000000"/>
                    </a:gs>
                  </a:gsLst>
                  <a:lin ang="5400000" scaled="0"/>
                </a:gradFill>
                <a:latin typeface="Segoe UI Light"/>
                <a:cs typeface="Segoe UI" pitchFamily="34" charset="0"/>
              </a:rPr>
              <a:t>Spark the future.</a:t>
            </a:r>
            <a:endParaRPr lang="en-US" sz="5000" spc="-125" dirty="0">
              <a:ln w="3175">
                <a:noFill/>
              </a:ln>
              <a:gradFill>
                <a:gsLst>
                  <a:gs pos="84066">
                    <a:srgbClr val="000000"/>
                  </a:gs>
                  <a:gs pos="57576">
                    <a:srgbClr val="000000"/>
                  </a:gs>
                </a:gsLst>
                <a:lin ang="5400000" scaled="0"/>
              </a:gradFill>
              <a:latin typeface="Segoe UI Light"/>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a:lnSpc>
                <a:spcPct val="90000"/>
              </a:lnSpc>
              <a:spcBef>
                <a:spcPct val="0"/>
              </a:spcBef>
            </a:pPr>
            <a:r>
              <a:rPr lang="en-US" sz="2250" dirty="0" smtClean="0">
                <a:ln w="3175">
                  <a:noFill/>
                </a:ln>
                <a:gradFill>
                  <a:gsLst>
                    <a:gs pos="84066">
                      <a:srgbClr val="000000"/>
                    </a:gs>
                    <a:gs pos="57576">
                      <a:srgbClr val="000000"/>
                    </a:gs>
                  </a:gsLst>
                  <a:lin ang="5400000" scaled="0"/>
                </a:gradFill>
                <a:cs typeface="Segoe UI" pitchFamily="34" charset="0"/>
              </a:rPr>
              <a:t>May 4 – 8, 2015</a:t>
            </a:r>
            <a:br>
              <a:rPr lang="en-US" sz="2250" dirty="0" smtClean="0">
                <a:ln w="3175">
                  <a:noFill/>
                </a:ln>
                <a:gradFill>
                  <a:gsLst>
                    <a:gs pos="84066">
                      <a:srgbClr val="000000"/>
                    </a:gs>
                    <a:gs pos="57576">
                      <a:srgbClr val="000000"/>
                    </a:gs>
                  </a:gsLst>
                  <a:lin ang="5400000" scaled="0"/>
                </a:gradFill>
                <a:cs typeface="Segoe UI" pitchFamily="34" charset="0"/>
              </a:rPr>
            </a:br>
            <a:r>
              <a:rPr lang="en-US" sz="2250" dirty="0" smtClean="0">
                <a:ln w="3175">
                  <a:noFill/>
                </a:ln>
                <a:gradFill>
                  <a:gsLst>
                    <a:gs pos="84066">
                      <a:srgbClr val="000000"/>
                    </a:gs>
                    <a:gs pos="57576">
                      <a:srgbClr val="000000"/>
                    </a:gs>
                  </a:gsLst>
                  <a:lin ang="5400000" scaled="0"/>
                </a:gradFill>
                <a:cs typeface="Segoe UI" pitchFamily="34" charset="0"/>
              </a:rPr>
              <a:t>Chicago, IL</a:t>
            </a:r>
            <a:endParaRPr lang="en-US" sz="2250" dirty="0">
              <a:ln w="3175">
                <a:noFill/>
              </a:ln>
              <a:gradFill>
                <a:gsLst>
                  <a:gs pos="84066">
                    <a:srgbClr val="000000"/>
                  </a:gs>
                  <a:gs pos="57576">
                    <a:srgbClr val="000000"/>
                  </a:gs>
                </a:gsLst>
                <a:lin ang="5400000" scaled="0"/>
              </a:gradFill>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3676068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5386564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701411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317320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4147204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6962772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932347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988131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2759386"/>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9222756"/>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1451230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919050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1986698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6127721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6149619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839012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04129547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9775134"/>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396045371"/>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14042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542897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358475"/>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02281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881321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1673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2297503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7811822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4307513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504371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7462716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8430007"/>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Edit Master text styles</a:t>
            </a:r>
          </a:p>
        </p:txBody>
      </p:sp>
    </p:spTree>
    <p:extLst>
      <p:ext uri="{BB962C8B-B14F-4D97-AF65-F5344CB8AC3E}">
        <p14:creationId xmlns:p14="http://schemas.microsoft.com/office/powerpoint/2010/main" val="370257238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201921598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61424713"/>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8568591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76236255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26520512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8819660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1909289"/>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3135098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gs>
                    <a:gs pos="100000">
                      <a:srgbClr val="404040"/>
                    </a:gs>
                  </a:gsLst>
                  <a:lin ang="5400000" scaled="0"/>
                </a:gradFill>
                <a:cs typeface="Segoe UI" pitchFamily="34" charset="0"/>
              </a:rPr>
              <a:t>© </a:t>
            </a:r>
            <a:r>
              <a:rPr lang="en-US" sz="700" dirty="0" smtClean="0">
                <a:gradFill>
                  <a:gsLst>
                    <a:gs pos="0">
                      <a:srgbClr val="404040"/>
                    </a:gs>
                    <a:gs pos="100000">
                      <a:srgbClr val="404040"/>
                    </a:gs>
                  </a:gsLst>
                  <a:lin ang="5400000" scaled="0"/>
                </a:gradFill>
                <a:cs typeface="Segoe UI" pitchFamily="34" charset="0"/>
              </a:rPr>
              <a:t>2015 </a:t>
            </a:r>
            <a:r>
              <a:rPr lang="en-US" sz="700" dirty="0">
                <a:gradFill>
                  <a:gsLst>
                    <a:gs pos="0">
                      <a:srgbClr val="404040"/>
                    </a:gs>
                    <a:gs pos="100000">
                      <a:srgbClr val="40404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4291528694"/>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1710502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4587894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17707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5" name="Picture 4"/>
          <p:cNvPicPr>
            <a:picLocks noChangeAspect="1"/>
          </p:cNvPicPr>
          <p:nvPr userDrawn="1"/>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3164" y="6545325"/>
            <a:ext cx="361094" cy="361043"/>
          </a:xfrm>
          <a:prstGeom prst="rect">
            <a:avLst/>
          </a:prstGeom>
        </p:spPr>
      </p:pic>
    </p:spTree>
    <p:extLst>
      <p:ext uri="{BB962C8B-B14F-4D97-AF65-F5344CB8AC3E}">
        <p14:creationId xmlns:p14="http://schemas.microsoft.com/office/powerpoint/2010/main" val="139935084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image" Target="../media/image8.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theme" Target="../theme/theme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image" Target="../media/image1.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theme" Target="../theme/theme4.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image" Target="../media/image1.pn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9" Type="http://schemas.openxmlformats.org/officeDocument/2006/relationships/slideLayout" Target="../slideLayouts/slideLayout165.xml"/><Relationship Id="rId21" Type="http://schemas.openxmlformats.org/officeDocument/2006/relationships/slideLayout" Target="../slideLayouts/slideLayout147.xml"/><Relationship Id="rId34" Type="http://schemas.openxmlformats.org/officeDocument/2006/relationships/slideLayout" Target="../slideLayouts/slideLayout160.xml"/><Relationship Id="rId42" Type="http://schemas.openxmlformats.org/officeDocument/2006/relationships/slideLayout" Target="../slideLayouts/slideLayout168.xml"/><Relationship Id="rId7" Type="http://schemas.openxmlformats.org/officeDocument/2006/relationships/slideLayout" Target="../slideLayouts/slideLayout13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41" Type="http://schemas.openxmlformats.org/officeDocument/2006/relationships/slideLayout" Target="../slideLayouts/slideLayout167.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slideLayout" Target="../slideLayouts/slideLayout158.xml"/><Relationship Id="rId37" Type="http://schemas.openxmlformats.org/officeDocument/2006/relationships/slideLayout" Target="../slideLayouts/slideLayout163.xml"/><Relationship Id="rId40" Type="http://schemas.openxmlformats.org/officeDocument/2006/relationships/slideLayout" Target="../slideLayouts/slideLayout166.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36" Type="http://schemas.openxmlformats.org/officeDocument/2006/relationships/slideLayout" Target="../slideLayouts/slideLayout162.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4" Type="http://schemas.openxmlformats.org/officeDocument/2006/relationships/image" Target="../media/image1.png"/><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35" Type="http://schemas.openxmlformats.org/officeDocument/2006/relationships/slideLayout" Target="../slideLayouts/slideLayout161.xml"/><Relationship Id="rId43" Type="http://schemas.openxmlformats.org/officeDocument/2006/relationships/theme" Target="../theme/theme6.xml"/><Relationship Id="rId8" Type="http://schemas.openxmlformats.org/officeDocument/2006/relationships/slideLayout" Target="../slideLayouts/slideLayout134.xml"/><Relationship Id="rId3" Type="http://schemas.openxmlformats.org/officeDocument/2006/relationships/slideLayout" Target="../slideLayouts/slideLayout129.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slideLayout" Target="../slideLayouts/slideLayout159.xml"/><Relationship Id="rId38" Type="http://schemas.openxmlformats.org/officeDocument/2006/relationships/slideLayout" Target="../slideLayouts/slideLayout16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slideLayout" Target="../slideLayouts/slideLayout207.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image" Target="../media/image1.png"/><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theme" Target="../theme/theme7.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18" Type="http://schemas.openxmlformats.org/officeDocument/2006/relationships/slideLayout" Target="../slideLayouts/slideLayout225.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slideLayout" Target="../slideLayouts/slideLayout224.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10" Type="http://schemas.openxmlformats.org/officeDocument/2006/relationships/slideLayout" Target="../slideLayouts/slideLayout217.xml"/><Relationship Id="rId19" Type="http://schemas.openxmlformats.org/officeDocument/2006/relationships/theme" Target="../theme/theme8.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29" Type="http://schemas.openxmlformats.org/officeDocument/2006/relationships/image" Target="../media/image1.png"/><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theme" Target="../theme/theme9.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43889738"/>
      </p:ext>
    </p:extLst>
  </p:cSld>
  <p:clrMap bg1="dk1" tx1="lt1" bg2="dk2" tx2="lt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 id="2147484302" r:id="rId25"/>
    <p:sldLayoutId id="2147484303" r:id="rId26"/>
    <p:sldLayoutId id="2147484304" r:id="rId27"/>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915805300"/>
      </p:ext>
    </p:extLst>
  </p:cSld>
  <p:clrMap bg1="dk1" tx1="lt1" bg2="dk2" tx2="lt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0" r:id="rId25"/>
    <p:sldLayoutId id="2147484331" r:id="rId26"/>
    <p:sldLayoutId id="2147484332" r:id="rId27"/>
    <p:sldLayoutId id="2147484334" r:id="rId28"/>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55342097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 id="2147484349" r:id="rId14"/>
    <p:sldLayoutId id="2147484350" r:id="rId15"/>
    <p:sldLayoutId id="2147484351" r:id="rId16"/>
    <p:sldLayoutId id="2147484352" r:id="rId17"/>
    <p:sldLayoutId id="2147484353"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8"/>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829082111"/>
      </p:ext>
    </p:extLst>
  </p:cSld>
  <p:clrMap bg1="dk1" tx1="lt1" bg2="dk2" tx2="lt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1" r:id="rId7"/>
    <p:sldLayoutId id="2147484362" r:id="rId8"/>
    <p:sldLayoutId id="2147484363" r:id="rId9"/>
    <p:sldLayoutId id="2147484364" r:id="rId10"/>
    <p:sldLayoutId id="2147484365" r:id="rId11"/>
    <p:sldLayoutId id="2147484366" r:id="rId12"/>
    <p:sldLayoutId id="2147484367" r:id="rId13"/>
    <p:sldLayoutId id="2147484368" r:id="rId14"/>
    <p:sldLayoutId id="2147484369" r:id="rId15"/>
    <p:sldLayoutId id="2147484370" r:id="rId16"/>
    <p:sldLayoutId id="2147484371" r:id="rId17"/>
    <p:sldLayoutId id="2147484372" r:id="rId18"/>
    <p:sldLayoutId id="2147484373" r:id="rId19"/>
    <p:sldLayoutId id="2147484374" r:id="rId20"/>
    <p:sldLayoutId id="2147484375" r:id="rId21"/>
    <p:sldLayoutId id="2147484376" r:id="rId22"/>
    <p:sldLayoutId id="2147484377" r:id="rId23"/>
    <p:sldLayoutId id="2147484378" r:id="rId24"/>
    <p:sldLayoutId id="2147484379" r:id="rId25"/>
    <p:sldLayoutId id="2147484380"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4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156386261"/>
      </p:ext>
    </p:extLst>
  </p:cSld>
  <p:clrMap bg1="dk1" tx1="lt1" bg2="dk2" tx2="lt2" accent1="accent1" accent2="accent2" accent3="accent3" accent4="accent4" accent5="accent5" accent6="accent6" hlink="hlink" folHlink="folHlink"/>
  <p:sldLayoutIdLst>
    <p:sldLayoutId id="2147484382" r:id="rId1"/>
    <p:sldLayoutId id="2147484383" r:id="rId2"/>
    <p:sldLayoutId id="2147484384" r:id="rId3"/>
    <p:sldLayoutId id="2147484385" r:id="rId4"/>
    <p:sldLayoutId id="2147484386" r:id="rId5"/>
    <p:sldLayoutId id="2147484387" r:id="rId6"/>
    <p:sldLayoutId id="2147484388" r:id="rId7"/>
    <p:sldLayoutId id="2147484389" r:id="rId8"/>
    <p:sldLayoutId id="2147484390" r:id="rId9"/>
    <p:sldLayoutId id="2147484391" r:id="rId10"/>
    <p:sldLayoutId id="2147484392" r:id="rId11"/>
    <p:sldLayoutId id="2147484393" r:id="rId12"/>
    <p:sldLayoutId id="2147484394" r:id="rId13"/>
    <p:sldLayoutId id="2147484395" r:id="rId14"/>
    <p:sldLayoutId id="2147484396" r:id="rId15"/>
    <p:sldLayoutId id="2147484397" r:id="rId16"/>
    <p:sldLayoutId id="2147484398" r:id="rId17"/>
    <p:sldLayoutId id="2147484399" r:id="rId18"/>
    <p:sldLayoutId id="2147484400" r:id="rId19"/>
    <p:sldLayoutId id="2147484401" r:id="rId20"/>
    <p:sldLayoutId id="2147484402" r:id="rId21"/>
    <p:sldLayoutId id="2147484403" r:id="rId22"/>
    <p:sldLayoutId id="2147484404" r:id="rId23"/>
    <p:sldLayoutId id="2147484405" r:id="rId24"/>
    <p:sldLayoutId id="2147484406" r:id="rId25"/>
    <p:sldLayoutId id="2147484407" r:id="rId26"/>
    <p:sldLayoutId id="2147484408" r:id="rId27"/>
    <p:sldLayoutId id="2147484409" r:id="rId28"/>
    <p:sldLayoutId id="2147484410" r:id="rId29"/>
    <p:sldLayoutId id="2147484411" r:id="rId30"/>
    <p:sldLayoutId id="2147484412" r:id="rId31"/>
    <p:sldLayoutId id="2147484413" r:id="rId32"/>
    <p:sldLayoutId id="2147484414" r:id="rId33"/>
    <p:sldLayoutId id="2147484415" r:id="rId34"/>
    <p:sldLayoutId id="2147484416" r:id="rId35"/>
    <p:sldLayoutId id="2147484417" r:id="rId36"/>
    <p:sldLayoutId id="2147484418" r:id="rId37"/>
    <p:sldLayoutId id="2147484419" r:id="rId38"/>
    <p:sldLayoutId id="2147484420" r:id="rId39"/>
    <p:sldLayoutId id="2147484421" r:id="rId40"/>
    <p:sldLayoutId id="2147484422" r:id="rId41"/>
    <p:sldLayoutId id="2147484423" r:id="rId42"/>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4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177592932"/>
      </p:ext>
    </p:extLst>
  </p:cSld>
  <p:clrMap bg1="dk1" tx1="lt1" bg2="dk2" tx2="lt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435" r:id="rId11"/>
    <p:sldLayoutId id="2147484436" r:id="rId12"/>
    <p:sldLayoutId id="2147484437" r:id="rId13"/>
    <p:sldLayoutId id="2147484438" r:id="rId14"/>
    <p:sldLayoutId id="2147484439" r:id="rId15"/>
    <p:sldLayoutId id="2147484440" r:id="rId16"/>
    <p:sldLayoutId id="2147484441" r:id="rId17"/>
    <p:sldLayoutId id="2147484442" r:id="rId18"/>
    <p:sldLayoutId id="2147484443" r:id="rId19"/>
    <p:sldLayoutId id="2147484444" r:id="rId20"/>
    <p:sldLayoutId id="2147484445" r:id="rId21"/>
    <p:sldLayoutId id="2147484446" r:id="rId22"/>
    <p:sldLayoutId id="2147484447" r:id="rId23"/>
    <p:sldLayoutId id="2147484448" r:id="rId24"/>
    <p:sldLayoutId id="2147484449" r:id="rId25"/>
    <p:sldLayoutId id="2147484450" r:id="rId26"/>
    <p:sldLayoutId id="2147484451" r:id="rId27"/>
    <p:sldLayoutId id="2147484452" r:id="rId28"/>
    <p:sldLayoutId id="2147484453" r:id="rId29"/>
    <p:sldLayoutId id="2147484454" r:id="rId30"/>
    <p:sldLayoutId id="2147484455" r:id="rId31"/>
    <p:sldLayoutId id="2147484456" r:id="rId32"/>
    <p:sldLayoutId id="2147484457" r:id="rId33"/>
    <p:sldLayoutId id="2147484458" r:id="rId34"/>
    <p:sldLayoutId id="2147484459" r:id="rId35"/>
    <p:sldLayoutId id="2147484460" r:id="rId36"/>
    <p:sldLayoutId id="2147484461" r:id="rId37"/>
    <p:sldLayoutId id="2147484462" r:id="rId38"/>
    <p:sldLayoutId id="2147484463" r:id="rId39"/>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3422" tIns="89639" rIns="143422" bIns="89639" rtlCol="0" anchor="t">
            <a:noAutofit/>
          </a:bodyPr>
          <a:lstStyle/>
          <a:p>
            <a:r>
              <a:rPr lang="en-US" smtClean="0"/>
              <a:t>Click to edit Master title style</a:t>
            </a:r>
            <a:endParaRPr lang="en-US" dirty="0"/>
          </a:p>
        </p:txBody>
      </p:sp>
      <p:sp>
        <p:nvSpPr>
          <p:cNvPr id="2051" name="Text Placeholder 3"/>
          <p:cNvSpPr>
            <a:spLocks noGrp="1"/>
          </p:cNvSpPr>
          <p:nvPr>
            <p:ph type="body" idx="1"/>
          </p:nvPr>
        </p:nvSpPr>
        <p:spPr bwMode="auto">
          <a:xfrm>
            <a:off x="274639" y="1212851"/>
            <a:ext cx="11887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79277" tIns="143422" rIns="179277" bIns="14342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Footer Placeholder 2"/>
          <p:cNvSpPr>
            <a:spLocks noGrp="1"/>
          </p:cNvSpPr>
          <p:nvPr>
            <p:ph type="ftr" sz="quarter" idx="3"/>
          </p:nvPr>
        </p:nvSpPr>
        <p:spPr>
          <a:xfrm>
            <a:off x="457200" y="6565901"/>
            <a:ext cx="3937000" cy="136525"/>
          </a:xfrm>
          <a:prstGeom prst="rect">
            <a:avLst/>
          </a:prstGeom>
        </p:spPr>
        <p:txBody>
          <a:bodyPr vert="horz" lIns="0" tIns="0" rIns="89639" bIns="0" rtlCol="0" anchor="ctr"/>
          <a:lstStyle>
            <a:lvl1pPr marL="0" algn="l" defTabSz="932563" rtl="0" eaLnBrk="1" fontAlgn="auto" latinLnBrk="0" hangingPunct="1">
              <a:spcBef>
                <a:spcPts val="0"/>
              </a:spcBef>
              <a:spcAft>
                <a:spcPts val="0"/>
              </a:spcAft>
              <a:defRPr lang="en-US" sz="918" kern="1200" dirty="0" smtClean="0">
                <a:solidFill>
                  <a:srgbClr val="505050"/>
                </a:solidFill>
                <a:latin typeface="+mn-lt"/>
                <a:ea typeface="+mn-ea"/>
                <a:cs typeface="+mn-cs"/>
              </a:defRPr>
            </a:lvl1pPr>
          </a:lstStyle>
          <a:p>
            <a:endParaRPr/>
          </a:p>
        </p:txBody>
      </p:sp>
      <p:sp>
        <p:nvSpPr>
          <p:cNvPr id="5" name="Slide Number Placeholder 4"/>
          <p:cNvSpPr>
            <a:spLocks noGrp="1"/>
          </p:cNvSpPr>
          <p:nvPr>
            <p:ph type="sldNum" sz="quarter" idx="4"/>
          </p:nvPr>
        </p:nvSpPr>
        <p:spPr>
          <a:xfrm>
            <a:off x="11595101" y="6565901"/>
            <a:ext cx="566738" cy="136525"/>
          </a:xfrm>
          <a:prstGeom prst="rect">
            <a:avLst/>
          </a:prstGeom>
        </p:spPr>
        <p:txBody>
          <a:bodyPr vert="horz" lIns="89639" tIns="0" rIns="0" bIns="0" rtlCol="0" anchor="ctr"/>
          <a:lstStyle>
            <a:lvl1pPr algn="r" defTabSz="932563" fontAlgn="auto">
              <a:spcBef>
                <a:spcPts val="0"/>
              </a:spcBef>
              <a:spcAft>
                <a:spcPts val="0"/>
              </a:spcAft>
              <a:defRPr lang="en-US" sz="918" b="0" kern="1200">
                <a:solidFill>
                  <a:srgbClr val="505050"/>
                </a:solidFill>
                <a:latin typeface="+mn-lt"/>
                <a:ea typeface="+mn-ea"/>
                <a:cs typeface="+mn-cs"/>
              </a:defRPr>
            </a:lvl1pPr>
          </a:lstStyle>
          <a:p>
            <a:fld id="{32FBFAE1-4542-4046-A9C2-27E9CAFA82CD}" type="slidenum">
              <a:rPr smtClean="0"/>
              <a:pPr/>
              <a:t>‹#›</a:t>
            </a:fld>
            <a:endParaRPr/>
          </a:p>
        </p:txBody>
      </p:sp>
    </p:spTree>
    <p:extLst>
      <p:ext uri="{BB962C8B-B14F-4D97-AF65-F5344CB8AC3E}">
        <p14:creationId xmlns:p14="http://schemas.microsoft.com/office/powerpoint/2010/main" val="3434087662"/>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Lst>
  <p:transition>
    <p:fade/>
  </p:transition>
  <p:timing>
    <p:tnLst>
      <p:par>
        <p:cTn id="1" dur="indefinite" restart="never" nodeType="tmRoot"/>
      </p:par>
    </p:tnLst>
  </p:timing>
  <p:txStyles>
    <p:titleStyle>
      <a:lvl1pPr algn="l" defTabSz="931684" rtl="0" eaLnBrk="1" fontAlgn="base" hangingPunct="1">
        <a:lnSpc>
          <a:spcPct val="90000"/>
        </a:lnSpc>
        <a:spcBef>
          <a:spcPct val="0"/>
        </a:spcBef>
        <a:spcAft>
          <a:spcPct val="0"/>
        </a:spcAft>
        <a:defRPr lang="en-US" sz="5405" kern="1200" spc="-102" dirty="0">
          <a:ln w="3175">
            <a:noFill/>
          </a:ln>
          <a:solidFill>
            <a:schemeClr val="tx2"/>
          </a:solidFill>
          <a:latin typeface="+mj-lt"/>
          <a:ea typeface="ＭＳ Ｐゴシック" charset="0"/>
          <a:cs typeface="Segoe UI" pitchFamily="34" charset="0"/>
        </a:defRPr>
      </a:lvl1pPr>
      <a:lvl2pPr algn="l" defTabSz="931684" rtl="0" eaLnBrk="1" fontAlgn="base" hangingPunct="1">
        <a:lnSpc>
          <a:spcPct val="90000"/>
        </a:lnSpc>
        <a:spcBef>
          <a:spcPct val="0"/>
        </a:spcBef>
        <a:spcAft>
          <a:spcPct val="0"/>
        </a:spcAft>
        <a:defRPr sz="5405">
          <a:solidFill>
            <a:schemeClr val="tx2"/>
          </a:solidFill>
          <a:latin typeface="Segoe UI Light" charset="0"/>
          <a:ea typeface="ＭＳ Ｐゴシック" charset="0"/>
          <a:cs typeface="Segoe UI" charset="0"/>
        </a:defRPr>
      </a:lvl2pPr>
      <a:lvl3pPr algn="l" defTabSz="931684" rtl="0" eaLnBrk="1" fontAlgn="base" hangingPunct="1">
        <a:lnSpc>
          <a:spcPct val="90000"/>
        </a:lnSpc>
        <a:spcBef>
          <a:spcPct val="0"/>
        </a:spcBef>
        <a:spcAft>
          <a:spcPct val="0"/>
        </a:spcAft>
        <a:defRPr sz="5405">
          <a:solidFill>
            <a:schemeClr val="tx2"/>
          </a:solidFill>
          <a:latin typeface="Segoe UI Light" charset="0"/>
          <a:ea typeface="ＭＳ Ｐゴシック" charset="0"/>
          <a:cs typeface="Segoe UI" charset="0"/>
        </a:defRPr>
      </a:lvl3pPr>
      <a:lvl4pPr algn="l" defTabSz="931684" rtl="0" eaLnBrk="1" fontAlgn="base" hangingPunct="1">
        <a:lnSpc>
          <a:spcPct val="90000"/>
        </a:lnSpc>
        <a:spcBef>
          <a:spcPct val="0"/>
        </a:spcBef>
        <a:spcAft>
          <a:spcPct val="0"/>
        </a:spcAft>
        <a:defRPr sz="5405">
          <a:solidFill>
            <a:schemeClr val="tx2"/>
          </a:solidFill>
          <a:latin typeface="Segoe UI Light" charset="0"/>
          <a:ea typeface="ＭＳ Ｐゴシック" charset="0"/>
          <a:cs typeface="Segoe UI" charset="0"/>
        </a:defRPr>
      </a:lvl4pPr>
      <a:lvl5pPr algn="l" defTabSz="931684" rtl="0" eaLnBrk="1" fontAlgn="base" hangingPunct="1">
        <a:lnSpc>
          <a:spcPct val="90000"/>
        </a:lnSpc>
        <a:spcBef>
          <a:spcPct val="0"/>
        </a:spcBef>
        <a:spcAft>
          <a:spcPct val="0"/>
        </a:spcAft>
        <a:defRPr sz="5405">
          <a:solidFill>
            <a:schemeClr val="tx2"/>
          </a:solidFill>
          <a:latin typeface="Segoe UI Light" charset="0"/>
          <a:ea typeface="ＭＳ Ｐゴシック" charset="0"/>
          <a:cs typeface="Segoe UI" charset="0"/>
        </a:defRPr>
      </a:lvl5pPr>
      <a:lvl6pPr marL="457112" algn="l" defTabSz="931684" rtl="0" eaLnBrk="1" fontAlgn="base" hangingPunct="1">
        <a:lnSpc>
          <a:spcPct val="90000"/>
        </a:lnSpc>
        <a:spcBef>
          <a:spcPct val="0"/>
        </a:spcBef>
        <a:spcAft>
          <a:spcPct val="0"/>
        </a:spcAft>
        <a:defRPr sz="5405">
          <a:solidFill>
            <a:schemeClr val="tx2"/>
          </a:solidFill>
          <a:latin typeface="Segoe UI Light" charset="0"/>
          <a:ea typeface="ＭＳ Ｐゴシック" charset="0"/>
          <a:cs typeface="Segoe UI" charset="0"/>
        </a:defRPr>
      </a:lvl6pPr>
      <a:lvl7pPr marL="914224" algn="l" defTabSz="931684" rtl="0" eaLnBrk="1" fontAlgn="base" hangingPunct="1">
        <a:lnSpc>
          <a:spcPct val="90000"/>
        </a:lnSpc>
        <a:spcBef>
          <a:spcPct val="0"/>
        </a:spcBef>
        <a:spcAft>
          <a:spcPct val="0"/>
        </a:spcAft>
        <a:defRPr sz="5405">
          <a:solidFill>
            <a:schemeClr val="tx2"/>
          </a:solidFill>
          <a:latin typeface="Segoe UI Light" charset="0"/>
          <a:ea typeface="ＭＳ Ｐゴシック" charset="0"/>
          <a:cs typeface="Segoe UI" charset="0"/>
        </a:defRPr>
      </a:lvl7pPr>
      <a:lvl8pPr marL="1371336" algn="l" defTabSz="931684" rtl="0" eaLnBrk="1" fontAlgn="base" hangingPunct="1">
        <a:lnSpc>
          <a:spcPct val="90000"/>
        </a:lnSpc>
        <a:spcBef>
          <a:spcPct val="0"/>
        </a:spcBef>
        <a:spcAft>
          <a:spcPct val="0"/>
        </a:spcAft>
        <a:defRPr sz="5405">
          <a:solidFill>
            <a:schemeClr val="tx2"/>
          </a:solidFill>
          <a:latin typeface="Segoe UI Light" charset="0"/>
          <a:ea typeface="ＭＳ Ｐゴシック" charset="0"/>
          <a:cs typeface="Segoe UI" charset="0"/>
        </a:defRPr>
      </a:lvl8pPr>
      <a:lvl9pPr marL="1828449" algn="l" defTabSz="931684" rtl="0" eaLnBrk="1" fontAlgn="base" hangingPunct="1">
        <a:lnSpc>
          <a:spcPct val="90000"/>
        </a:lnSpc>
        <a:spcBef>
          <a:spcPct val="0"/>
        </a:spcBef>
        <a:spcAft>
          <a:spcPct val="0"/>
        </a:spcAft>
        <a:defRPr sz="5405">
          <a:solidFill>
            <a:schemeClr val="tx2"/>
          </a:solidFill>
          <a:latin typeface="Segoe UI Light" charset="0"/>
          <a:ea typeface="ＭＳ Ｐゴシック" charset="0"/>
          <a:cs typeface="Segoe UI" charset="0"/>
        </a:defRPr>
      </a:lvl9pPr>
    </p:titleStyle>
    <p:bodyStyle>
      <a:lvl1pPr marL="342834" indent="-342834" algn="l" defTabSz="931684" rtl="0" eaLnBrk="1" fontAlgn="base" hangingPunct="1">
        <a:lnSpc>
          <a:spcPct val="90000"/>
        </a:lnSpc>
        <a:spcBef>
          <a:spcPct val="20000"/>
        </a:spcBef>
        <a:spcAft>
          <a:spcPct val="0"/>
        </a:spcAft>
        <a:buSzPct val="90000"/>
        <a:buFont typeface="Arial" charset="0"/>
        <a:buChar char="•"/>
        <a:defRPr sz="3978" kern="1200">
          <a:solidFill>
            <a:schemeClr val="tx2"/>
          </a:solidFill>
          <a:latin typeface="+mj-lt"/>
          <a:ea typeface="ＭＳ Ｐゴシック" charset="0"/>
          <a:cs typeface="ＭＳ Ｐゴシック" charset="0"/>
        </a:defRPr>
      </a:lvl1pPr>
      <a:lvl2pPr marL="584088" indent="-241253" algn="l" defTabSz="931684" rtl="0" eaLnBrk="1" fontAlgn="base" hangingPunct="1">
        <a:lnSpc>
          <a:spcPct val="90000"/>
        </a:lnSpc>
        <a:spcBef>
          <a:spcPct val="20000"/>
        </a:spcBef>
        <a:spcAft>
          <a:spcPct val="0"/>
        </a:spcAft>
        <a:buSzPct val="90000"/>
        <a:buFont typeface="Arial" charset="0"/>
        <a:buChar char="•"/>
        <a:defRPr sz="2448" kern="1200">
          <a:solidFill>
            <a:schemeClr val="tx2"/>
          </a:solidFill>
          <a:latin typeface="+mn-lt"/>
          <a:ea typeface="ＭＳ Ｐゴシック" charset="0"/>
          <a:cs typeface="+mn-cs"/>
        </a:defRPr>
      </a:lvl2pPr>
      <a:lvl3pPr marL="799946" indent="-228557" algn="l" defTabSz="931684" rtl="0" eaLnBrk="1" fontAlgn="base" hangingPunct="1">
        <a:lnSpc>
          <a:spcPct val="90000"/>
        </a:lnSpc>
        <a:spcBef>
          <a:spcPct val="20000"/>
        </a:spcBef>
        <a:spcAft>
          <a:spcPct val="0"/>
        </a:spcAft>
        <a:buSzPct val="90000"/>
        <a:buFont typeface="Arial" charset="0"/>
        <a:buChar char="•"/>
        <a:defRPr sz="2040" kern="1200">
          <a:solidFill>
            <a:schemeClr val="tx2"/>
          </a:solidFill>
          <a:latin typeface="+mn-lt"/>
          <a:ea typeface="ＭＳ Ｐゴシック" charset="0"/>
          <a:cs typeface="+mn-cs"/>
        </a:defRPr>
      </a:lvl3pPr>
      <a:lvl4pPr marL="1028503"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57058" indent="-228557" algn="l" defTabSz="931684" rtl="0" eaLnBrk="1" fontAlgn="base" hangingPunct="1">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63" rtl="0" eaLnBrk="1" latinLnBrk="0" hangingPunct="1">
        <a:defRPr sz="1836" kern="1200">
          <a:solidFill>
            <a:schemeClr val="tx1"/>
          </a:solidFill>
          <a:latin typeface="+mn-lt"/>
          <a:ea typeface="+mn-ea"/>
          <a:cs typeface="+mn-cs"/>
        </a:defRPr>
      </a:lvl1pPr>
      <a:lvl2pPr marL="466281" algn="l" defTabSz="932563" rtl="0" eaLnBrk="1" latinLnBrk="0" hangingPunct="1">
        <a:defRPr sz="1836" kern="1200">
          <a:solidFill>
            <a:schemeClr val="tx1"/>
          </a:solidFill>
          <a:latin typeface="+mn-lt"/>
          <a:ea typeface="+mn-ea"/>
          <a:cs typeface="+mn-cs"/>
        </a:defRPr>
      </a:lvl2pPr>
      <a:lvl3pPr marL="932563" algn="l" defTabSz="932563" rtl="0" eaLnBrk="1" latinLnBrk="0" hangingPunct="1">
        <a:defRPr sz="1836" kern="1200">
          <a:solidFill>
            <a:schemeClr val="tx1"/>
          </a:solidFill>
          <a:latin typeface="+mn-lt"/>
          <a:ea typeface="+mn-ea"/>
          <a:cs typeface="+mn-cs"/>
        </a:defRPr>
      </a:lvl3pPr>
      <a:lvl4pPr marL="1398844" algn="l" defTabSz="932563" rtl="0" eaLnBrk="1" latinLnBrk="0" hangingPunct="1">
        <a:defRPr sz="1836" kern="1200">
          <a:solidFill>
            <a:schemeClr val="tx1"/>
          </a:solidFill>
          <a:latin typeface="+mn-lt"/>
          <a:ea typeface="+mn-ea"/>
          <a:cs typeface="+mn-cs"/>
        </a:defRPr>
      </a:lvl4pPr>
      <a:lvl5pPr marL="1865126" algn="l" defTabSz="932563" rtl="0" eaLnBrk="1" latinLnBrk="0" hangingPunct="1">
        <a:defRPr sz="1836" kern="1200">
          <a:solidFill>
            <a:schemeClr val="tx1"/>
          </a:solidFill>
          <a:latin typeface="+mn-lt"/>
          <a:ea typeface="+mn-ea"/>
          <a:cs typeface="+mn-cs"/>
        </a:defRPr>
      </a:lvl5pPr>
      <a:lvl6pPr marL="2331408" algn="l" defTabSz="932563" rtl="0" eaLnBrk="1" latinLnBrk="0" hangingPunct="1">
        <a:defRPr sz="1836" kern="1200">
          <a:solidFill>
            <a:schemeClr val="tx1"/>
          </a:solidFill>
          <a:latin typeface="+mn-lt"/>
          <a:ea typeface="+mn-ea"/>
          <a:cs typeface="+mn-cs"/>
        </a:defRPr>
      </a:lvl6pPr>
      <a:lvl7pPr marL="2797689" algn="l" defTabSz="932563" rtl="0" eaLnBrk="1" latinLnBrk="0" hangingPunct="1">
        <a:defRPr sz="1836" kern="1200">
          <a:solidFill>
            <a:schemeClr val="tx1"/>
          </a:solidFill>
          <a:latin typeface="+mn-lt"/>
          <a:ea typeface="+mn-ea"/>
          <a:cs typeface="+mn-cs"/>
        </a:defRPr>
      </a:lvl7pPr>
      <a:lvl8pPr marL="3263970" algn="l" defTabSz="932563" rtl="0" eaLnBrk="1" latinLnBrk="0" hangingPunct="1">
        <a:defRPr sz="1836" kern="1200">
          <a:solidFill>
            <a:schemeClr val="tx1"/>
          </a:solidFill>
          <a:latin typeface="+mn-lt"/>
          <a:ea typeface="+mn-ea"/>
          <a:cs typeface="+mn-cs"/>
        </a:defRPr>
      </a:lvl8pPr>
      <a:lvl9pPr marL="3730253" algn="l" defTabSz="932563"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9"/>
          <a:stretch>
            <a:fillRect/>
          </a:stretch>
        </p:blipFill>
        <p:spPr>
          <a:xfrm rot="5400000">
            <a:off x="9393899" y="3050515"/>
            <a:ext cx="6995160" cy="894134"/>
          </a:xfrm>
          <a:prstGeom prst="rect">
            <a:avLst/>
          </a:prstGeom>
        </p:spPr>
      </p:pic>
    </p:spTree>
    <p:extLst>
      <p:ext uri="{BB962C8B-B14F-4D97-AF65-F5344CB8AC3E}">
        <p14:creationId xmlns:p14="http://schemas.microsoft.com/office/powerpoint/2010/main" val="521729566"/>
      </p:ext>
    </p:extLst>
  </p:cSld>
  <p:clrMap bg1="lt1" tx1="dk1" bg2="lt2" tx2="dk2" accent1="accent1" accent2="accent2" accent3="accent3" accent4="accent4" accent5="accent5" accent6="accent6" hlink="hlink" folHlink="folHlink"/>
  <p:sldLayoutIdLst>
    <p:sldLayoutId id="2147484484" r:id="rId1"/>
    <p:sldLayoutId id="2147484485"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 id="2147484494" r:id="rId11"/>
    <p:sldLayoutId id="2147484495" r:id="rId12"/>
    <p:sldLayoutId id="2147484496" r:id="rId13"/>
    <p:sldLayoutId id="2147484497" r:id="rId14"/>
    <p:sldLayoutId id="2147484498" r:id="rId15"/>
    <p:sldLayoutId id="2147484499" r:id="rId16"/>
    <p:sldLayoutId id="2147484500" r:id="rId17"/>
    <p:sldLayoutId id="2147484501" r:id="rId18"/>
    <p:sldLayoutId id="2147484502" r:id="rId19"/>
    <p:sldLayoutId id="2147484503" r:id="rId20"/>
    <p:sldLayoutId id="2147484504" r:id="rId21"/>
    <p:sldLayoutId id="2147484505" r:id="rId22"/>
    <p:sldLayoutId id="2147484506" r:id="rId23"/>
    <p:sldLayoutId id="2147484507" r:id="rId24"/>
    <p:sldLayoutId id="2147484508" r:id="rId25"/>
    <p:sldLayoutId id="2147484509" r:id="rId26"/>
    <p:sldLayoutId id="2147484510" r:id="rId27"/>
  </p:sldLayoutIdLst>
  <p:transition>
    <p:fade/>
  </p:transition>
  <p:timing>
    <p:tnLst>
      <p:par>
        <p:cTn id="1" dur="indefinite" restart="never" nodeType="tmRoot"/>
      </p:par>
    </p:tnLst>
  </p:timing>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0.tmp"/><Relationship Id="rId3" Type="http://schemas.openxmlformats.org/officeDocument/2006/relationships/hyperlink" Target="http://www.eweek.com/" TargetMode="External"/><Relationship Id="rId7"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137.xml"/><Relationship Id="rId6" Type="http://schemas.openxmlformats.org/officeDocument/2006/relationships/image" Target="../media/image38.png"/><Relationship Id="rId5" Type="http://schemas.openxmlformats.org/officeDocument/2006/relationships/hyperlink" Target="http://www.eweek.com/c/a/Enterprise-Applications/PowerPivot-Raises-the-Bar-on-Row-Limitations-441592/" TargetMode="External"/><Relationship Id="rId4" Type="http://schemas.openxmlformats.org/officeDocument/2006/relationships/image" Target="../media/image37.gi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xml"/><Relationship Id="rId1" Type="http://schemas.openxmlformats.org/officeDocument/2006/relationships/slideLayout" Target="../slideLayouts/slideLayout137.xml"/><Relationship Id="rId5" Type="http://schemas.openxmlformats.org/officeDocument/2006/relationships/image" Target="../media/image42.png"/><Relationship Id="rId4" Type="http://schemas.openxmlformats.org/officeDocument/2006/relationships/hyperlink" Target="file:///\\fileshare"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4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97.xml"/><Relationship Id="rId7" Type="http://schemas.openxmlformats.org/officeDocument/2006/relationships/image" Target="../media/image4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07.xml"/></Relationships>
</file>

<file path=ppt/slides/_rels/slide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1.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207.xml"/></Relationships>
</file>

<file path=ppt/slides/_rels/slide2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166.xml"/></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165.xml"/><Relationship Id="rId4" Type="http://schemas.openxmlformats.org/officeDocument/2006/relationships/image" Target="../media/image49.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25.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8.xml"/><Relationship Id="rId1" Type="http://schemas.openxmlformats.org/officeDocument/2006/relationships/slideLayout" Target="../slideLayouts/slideLayout15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2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3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apps.microsoft.com/windows/en-us/app/datazen-publisher/a23f9233-bcda-49e3-bab4-5e8366b96a37" TargetMode="External"/><Relationship Id="rId2" Type="http://schemas.openxmlformats.org/officeDocument/2006/relationships/image" Target="../media/image52.png"/><Relationship Id="rId1" Type="http://schemas.openxmlformats.org/officeDocument/2006/relationships/slideLayout" Target="../slideLayouts/slideLayout132.xml"/><Relationship Id="rId4" Type="http://schemas.openxmlformats.org/officeDocument/2006/relationships/image" Target="../media/image53.png"/></Relationships>
</file>

<file path=ppt/slides/_rels/slide31.xml.rels><?xml version="1.0" encoding="UTF-8" standalone="yes"?>
<Relationships xmlns="http://schemas.openxmlformats.org/package/2006/relationships"><Relationship Id="rId8" Type="http://schemas.openxmlformats.org/officeDocument/2006/relationships/image" Target="../media/image59.jpg"/><Relationship Id="rId13" Type="http://schemas.openxmlformats.org/officeDocument/2006/relationships/image" Target="../media/image64.jpg"/><Relationship Id="rId18" Type="http://schemas.openxmlformats.org/officeDocument/2006/relationships/image" Target="../media/image69.jpg"/><Relationship Id="rId26" Type="http://schemas.openxmlformats.org/officeDocument/2006/relationships/image" Target="../media/image77.png"/><Relationship Id="rId3" Type="http://schemas.openxmlformats.org/officeDocument/2006/relationships/image" Target="../media/image54.jpeg"/><Relationship Id="rId21" Type="http://schemas.openxmlformats.org/officeDocument/2006/relationships/image" Target="../media/image72.png"/><Relationship Id="rId7" Type="http://schemas.openxmlformats.org/officeDocument/2006/relationships/image" Target="../media/image58.png"/><Relationship Id="rId12" Type="http://schemas.openxmlformats.org/officeDocument/2006/relationships/image" Target="../media/image63.png"/><Relationship Id="rId17" Type="http://schemas.openxmlformats.org/officeDocument/2006/relationships/image" Target="../media/image68.jpg"/><Relationship Id="rId25" Type="http://schemas.openxmlformats.org/officeDocument/2006/relationships/image" Target="../media/image76.png"/><Relationship Id="rId2" Type="http://schemas.openxmlformats.org/officeDocument/2006/relationships/notesSlide" Target="../notesSlides/notesSlide9.xml"/><Relationship Id="rId16" Type="http://schemas.openxmlformats.org/officeDocument/2006/relationships/image" Target="../media/image67.jpg"/><Relationship Id="rId20" Type="http://schemas.openxmlformats.org/officeDocument/2006/relationships/image" Target="../media/image71.png"/><Relationship Id="rId1" Type="http://schemas.openxmlformats.org/officeDocument/2006/relationships/slideLayout" Target="../slideLayouts/slideLayout235.xml"/><Relationship Id="rId6" Type="http://schemas.openxmlformats.org/officeDocument/2006/relationships/image" Target="../media/image57.png"/><Relationship Id="rId11" Type="http://schemas.openxmlformats.org/officeDocument/2006/relationships/image" Target="../media/image62.png"/><Relationship Id="rId24" Type="http://schemas.openxmlformats.org/officeDocument/2006/relationships/image" Target="../media/image75.png"/><Relationship Id="rId5" Type="http://schemas.openxmlformats.org/officeDocument/2006/relationships/image" Target="../media/image56.png"/><Relationship Id="rId15" Type="http://schemas.openxmlformats.org/officeDocument/2006/relationships/image" Target="../media/image66.jpg"/><Relationship Id="rId23" Type="http://schemas.openxmlformats.org/officeDocument/2006/relationships/image" Target="../media/image74.png"/><Relationship Id="rId10" Type="http://schemas.openxmlformats.org/officeDocument/2006/relationships/image" Target="../media/image61.png"/><Relationship Id="rId19" Type="http://schemas.openxmlformats.org/officeDocument/2006/relationships/image" Target="../media/image70.jpg"/><Relationship Id="rId4" Type="http://schemas.openxmlformats.org/officeDocument/2006/relationships/image" Target="../media/image55.png"/><Relationship Id="rId9" Type="http://schemas.openxmlformats.org/officeDocument/2006/relationships/image" Target="../media/image60.jpg"/><Relationship Id="rId14" Type="http://schemas.openxmlformats.org/officeDocument/2006/relationships/image" Target="../media/image65.jpg"/><Relationship Id="rId22" Type="http://schemas.openxmlformats.org/officeDocument/2006/relationships/image" Target="../media/image73.jpeg"/><Relationship Id="rId27" Type="http://schemas.openxmlformats.org/officeDocument/2006/relationships/image" Target="../media/image78.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8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notesSlide" Target="../notesSlides/notesSlide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20.xml"/><Relationship Id="rId5" Type="http://schemas.openxmlformats.org/officeDocument/2006/relationships/image" Target="../media/image83.png"/><Relationship Id="rId4" Type="http://schemas.openxmlformats.org/officeDocument/2006/relationships/hyperlink" Target="http://myignite.microsoft.com/"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6.xml"/></Relationships>
</file>

<file path=ppt/slides/_rels/slide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56.xml"/></Relationships>
</file>

<file path=ppt/slides/_rels/slide6.xml.rels><?xml version="1.0" encoding="UTF-8" standalone="yes"?>
<Relationships xmlns="http://schemas.openxmlformats.org/package/2006/relationships"><Relationship Id="rId2" Type="http://schemas.openxmlformats.org/officeDocument/2006/relationships/image" Target="../media/image34.gif"/><Relationship Id="rId1" Type="http://schemas.openxmlformats.org/officeDocument/2006/relationships/slideLayout" Target="../slideLayouts/slideLayout137.xml"/></Relationships>
</file>

<file path=ppt/slides/_rels/slide7.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408889" y="1439862"/>
            <a:ext cx="7621064" cy="5068007"/>
          </a:xfrm>
          <a:prstGeom prst="rect">
            <a:avLst/>
          </a:prstGeom>
        </p:spPr>
      </p:pic>
      <p:sp>
        <p:nvSpPr>
          <p:cNvPr id="5" name="Title 4"/>
          <p:cNvSpPr>
            <a:spLocks noGrp="1"/>
          </p:cNvSpPr>
          <p:nvPr>
            <p:ph type="title"/>
          </p:nvPr>
        </p:nvSpPr>
        <p:spPr/>
        <p:txBody>
          <a:bodyPr/>
          <a:lstStyle/>
          <a:p>
            <a:r>
              <a:rPr lang="en-US" dirty="0" smtClean="0"/>
              <a:t>Power Pivot</a:t>
            </a:r>
            <a:endParaRPr lang="en-US" dirty="0"/>
          </a:p>
        </p:txBody>
      </p:sp>
      <p:grpSp>
        <p:nvGrpSpPr>
          <p:cNvPr id="6" name="Group 5"/>
          <p:cNvGrpSpPr/>
          <p:nvPr/>
        </p:nvGrpSpPr>
        <p:grpSpPr>
          <a:xfrm rot="-780000">
            <a:off x="299505" y="1542431"/>
            <a:ext cx="3429000" cy="1524553"/>
            <a:chOff x="-212128" y="2315781"/>
            <a:chExt cx="2119964" cy="1461026"/>
          </a:xfrm>
          <a:solidFill>
            <a:schemeClr val="bg1"/>
          </a:solidFill>
        </p:grpSpPr>
        <p:pic>
          <p:nvPicPr>
            <p:cNvPr id="7" name="Picture 24" descr="eWeek.com">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595" y="2315781"/>
              <a:ext cx="2097431" cy="326834"/>
            </a:xfrm>
            <a:prstGeom prst="rect">
              <a:avLst/>
            </a:prstGeom>
            <a:grpFill/>
            <a:extLst/>
          </p:spPr>
        </p:pic>
        <p:sp>
          <p:nvSpPr>
            <p:cNvPr id="8" name="Rectangle 7"/>
            <p:cNvSpPr/>
            <p:nvPr/>
          </p:nvSpPr>
          <p:spPr>
            <a:xfrm>
              <a:off x="-205618" y="2773970"/>
              <a:ext cx="2113454" cy="294952"/>
            </a:xfrm>
            <a:prstGeom prst="rect">
              <a:avLst/>
            </a:prstGeom>
            <a:grpFill/>
          </p:spPr>
          <p:txBody>
            <a:bodyPr wrap="square">
              <a:spAutoFit/>
            </a:bodyPr>
            <a:lstStyle/>
            <a:p>
              <a:r>
                <a:rPr lang="en-US" sz="1400" i="1" dirty="0">
                  <a:solidFill>
                    <a:srgbClr val="FFFFFF"/>
                  </a:solidFill>
                </a:rPr>
                <a:t>2010 Products of the </a:t>
              </a:r>
              <a:r>
                <a:rPr lang="en-US" sz="1400" i="1" dirty="0" smtClean="0">
                  <a:solidFill>
                    <a:srgbClr val="FFFFFF"/>
                  </a:solidFill>
                </a:rPr>
                <a:t>Year: PowerPivot </a:t>
              </a:r>
              <a:endParaRPr lang="en-US" sz="1400" i="1" dirty="0">
                <a:solidFill>
                  <a:srgbClr val="FFFFFF"/>
                </a:solidFill>
              </a:endParaRPr>
            </a:p>
          </p:txBody>
        </p:sp>
        <p:sp>
          <p:nvSpPr>
            <p:cNvPr id="9" name="Rectangle 8"/>
            <p:cNvSpPr/>
            <p:nvPr/>
          </p:nvSpPr>
          <p:spPr>
            <a:xfrm>
              <a:off x="-212128" y="3068922"/>
              <a:ext cx="2119964" cy="707885"/>
            </a:xfrm>
            <a:prstGeom prst="rect">
              <a:avLst/>
            </a:prstGeom>
            <a:grpFill/>
          </p:spPr>
          <p:txBody>
            <a:bodyPr wrap="square">
              <a:spAutoFit/>
            </a:bodyPr>
            <a:lstStyle/>
            <a:p>
              <a:r>
                <a:rPr lang="en-US" sz="1400" i="1" dirty="0" smtClean="0">
                  <a:solidFill>
                    <a:srgbClr val="FFFFFF">
                      <a:lumMod val="65000"/>
                      <a:lumOff val="35000"/>
                    </a:srgbClr>
                  </a:solidFill>
                  <a:latin typeface="Calibri" pitchFamily="34" charset="0"/>
                  <a:cs typeface="Calibri" pitchFamily="34" charset="0"/>
                </a:rPr>
                <a:t>One </a:t>
              </a:r>
              <a:r>
                <a:rPr lang="en-US" sz="1400" i="1" dirty="0">
                  <a:solidFill>
                    <a:srgbClr val="FFFFFF">
                      <a:lumMod val="65000"/>
                      <a:lumOff val="35000"/>
                    </a:srgbClr>
                  </a:solidFill>
                  <a:latin typeface="Calibri" pitchFamily="34" charset="0"/>
                  <a:cs typeface="Calibri" pitchFamily="34" charset="0"/>
                </a:rPr>
                <a:t>of my favorite products of the year was Microsoft's free add-in for Excel 2010, </a:t>
              </a:r>
              <a:r>
                <a:rPr lang="en-US" sz="1400" i="1" dirty="0">
                  <a:solidFill>
                    <a:srgbClr val="FFFFFF">
                      <a:lumMod val="65000"/>
                      <a:lumOff val="35000"/>
                    </a:srgbClr>
                  </a:solidFill>
                  <a:latin typeface="Calibri" pitchFamily="34" charset="0"/>
                  <a:cs typeface="Calibri" pitchFamily="34" charset="0"/>
                  <a:hlinkClick r:id="rId5"/>
                </a:rPr>
                <a:t>PowerPivot</a:t>
              </a:r>
              <a:r>
                <a:rPr lang="en-US" sz="1400" i="1" dirty="0">
                  <a:solidFill>
                    <a:srgbClr val="FFFFFF">
                      <a:lumMod val="65000"/>
                      <a:lumOff val="35000"/>
                    </a:srgbClr>
                  </a:solidFill>
                  <a:latin typeface="Calibri" pitchFamily="34" charset="0"/>
                  <a:cs typeface="Calibri" pitchFamily="34" charset="0"/>
                </a:rPr>
                <a:t>. </a:t>
              </a:r>
              <a:r>
                <a:rPr lang="en-US" sz="1400" i="1" dirty="0" smtClean="0">
                  <a:solidFill>
                    <a:srgbClr val="FFFFFF">
                      <a:lumMod val="65000"/>
                      <a:lumOff val="35000"/>
                    </a:srgbClr>
                  </a:solidFill>
                  <a:latin typeface="Calibri" pitchFamily="34" charset="0"/>
                  <a:cs typeface="Calibri" pitchFamily="34" charset="0"/>
                </a:rPr>
                <a:t>…</a:t>
              </a:r>
              <a:endParaRPr lang="en-US" sz="1400" i="1" dirty="0">
                <a:solidFill>
                  <a:srgbClr val="FFFFFF">
                    <a:lumMod val="65000"/>
                    <a:lumOff val="35000"/>
                  </a:srgbClr>
                </a:solidFill>
                <a:latin typeface="Calibri" pitchFamily="34" charset="0"/>
                <a:cs typeface="Calibri" pitchFamily="34" charset="0"/>
              </a:endParaRPr>
            </a:p>
          </p:txBody>
        </p:sp>
      </p:grpSp>
      <p:grpSp>
        <p:nvGrpSpPr>
          <p:cNvPr id="10" name="Group 9"/>
          <p:cNvGrpSpPr/>
          <p:nvPr/>
        </p:nvGrpSpPr>
        <p:grpSpPr>
          <a:xfrm rot="660000">
            <a:off x="485575" y="4492595"/>
            <a:ext cx="3392553" cy="2037166"/>
            <a:chOff x="746438" y="3497262"/>
            <a:chExt cx="2901127" cy="2037166"/>
          </a:xfrm>
        </p:grpSpPr>
        <p:pic>
          <p:nvPicPr>
            <p:cNvPr id="11" name="Picture 1" descr="image00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9511" y="3497262"/>
              <a:ext cx="2878054" cy="487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descr="image00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6438" y="4146031"/>
              <a:ext cx="2901127" cy="1388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15"/>
          <p:cNvGrpSpPr/>
          <p:nvPr/>
        </p:nvGrpSpPr>
        <p:grpSpPr>
          <a:xfrm rot="-900000">
            <a:off x="3108554" y="3041743"/>
            <a:ext cx="3043787" cy="1099128"/>
            <a:chOff x="5393957" y="4114497"/>
            <a:chExt cx="3043787" cy="1099128"/>
          </a:xfrm>
        </p:grpSpPr>
        <p:pic>
          <p:nvPicPr>
            <p:cNvPr id="17" name="Picture 16" descr="Screen Clippi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1480000">
              <a:off x="5393957" y="4114497"/>
              <a:ext cx="2901127" cy="487844"/>
            </a:xfrm>
            <a:prstGeom prst="rect">
              <a:avLst/>
            </a:prstGeom>
          </p:spPr>
        </p:pic>
        <p:sp>
          <p:nvSpPr>
            <p:cNvPr id="18" name="TextBox 17"/>
            <p:cNvSpPr txBox="1"/>
            <p:nvPr/>
          </p:nvSpPr>
          <p:spPr>
            <a:xfrm>
              <a:off x="5446497" y="4628850"/>
              <a:ext cx="2991247" cy="584775"/>
            </a:xfrm>
            <a:prstGeom prst="rect">
              <a:avLst/>
            </a:prstGeom>
            <a:noFill/>
          </p:spPr>
          <p:txBody>
            <a:bodyPr wrap="square" rtlCol="0">
              <a:spAutoFit/>
            </a:bodyPr>
            <a:lstStyle/>
            <a:p>
              <a:pPr algn="ctr"/>
              <a:r>
                <a:rPr lang="en-US" sz="1050" i="1" dirty="0" smtClean="0">
                  <a:solidFill>
                    <a:srgbClr val="FFFFFF"/>
                  </a:solidFill>
                </a:rPr>
                <a:t>“</a:t>
              </a:r>
              <a:r>
                <a:rPr lang="en-US" sz="1600" i="1" dirty="0" smtClean="0">
                  <a:solidFill>
                    <a:srgbClr val="FFFFFF"/>
                  </a:solidFill>
                </a:rPr>
                <a:t>PowerPivot to BI is what the printing press was to literacy…”</a:t>
              </a:r>
              <a:endParaRPr lang="en-US" sz="1050" i="1" dirty="0">
                <a:solidFill>
                  <a:srgbClr val="FFFFFF"/>
                </a:solidFill>
              </a:endParaRPr>
            </a:p>
          </p:txBody>
        </p:sp>
      </p:grpSp>
    </p:spTree>
    <p:extLst>
      <p:ext uri="{BB962C8B-B14F-4D97-AF65-F5344CB8AC3E}">
        <p14:creationId xmlns:p14="http://schemas.microsoft.com/office/powerpoint/2010/main" val="259551187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decel="100000" fill="hold" nodeType="clickEffect">
                                  <p:stCondLst>
                                    <p:cond delay="0"/>
                                  </p:stCondLst>
                                  <p:childTnLst>
                                    <p:animMotion origin="layout" path="M 0 1.03041E-6 L 0.25006 1.03041E-6 " pathEditMode="relative" rAng="0" ptsTypes="AA">
                                      <p:cBhvr>
                                        <p:cTn id="6" dur="2000" fill="hold"/>
                                        <p:tgtEl>
                                          <p:spTgt spid="4"/>
                                        </p:tgtEl>
                                        <p:attrNameLst>
                                          <p:attrName>ppt_x</p:attrName>
                                          <p:attrName>ppt_y</p:attrName>
                                        </p:attrNameLst>
                                      </p:cBhvr>
                                      <p:rCtr x="12497" y="0"/>
                                    </p:animMotion>
                                  </p:childTnLst>
                                </p:cTn>
                              </p:par>
                              <p:par>
                                <p:cTn id="7" presetID="6" presetClass="emph" presetSubtype="0" decel="100000" fill="hold" nodeType="withEffect">
                                  <p:stCondLst>
                                    <p:cond delay="0"/>
                                  </p:stCondLst>
                                  <p:childTnLst>
                                    <p:animScale>
                                      <p:cBhvr>
                                        <p:cTn id="8" dur="2000" fill="hold"/>
                                        <p:tgtEl>
                                          <p:spTgt spid="4"/>
                                        </p:tgtEl>
                                      </p:cBhvr>
                                      <p:by x="65000" y="65000"/>
                                    </p:animScale>
                                  </p:childTnLst>
                                </p:cTn>
                              </p:par>
                              <p:par>
                                <p:cTn id="9" presetID="10" presetClass="entr" presetSubtype="0" fill="hold" nodeType="withEffect">
                                  <p:stCondLst>
                                    <p:cond delay="10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nodeType="withEffect">
                                  <p:stCondLst>
                                    <p:cond delay="130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nodeType="withEffect">
                                  <p:stCondLst>
                                    <p:cond delay="18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7200" dirty="0" smtClean="0"/>
              <a:t>Self Service BI</a:t>
            </a:r>
            <a:endParaRPr lang="en-US" sz="7200" dirty="0"/>
          </a:p>
        </p:txBody>
      </p:sp>
    </p:spTree>
    <p:extLst>
      <p:ext uri="{BB962C8B-B14F-4D97-AF65-F5344CB8AC3E}">
        <p14:creationId xmlns:p14="http://schemas.microsoft.com/office/powerpoint/2010/main" val="3349556591"/>
      </p:ext>
    </p:extLst>
  </p:cSld>
  <p:clrMapOvr>
    <a:masterClrMapping/>
  </p:clrMapOvr>
  <p:transition spd="slow">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9" name="Group 88"/>
          <p:cNvGrpSpPr/>
          <p:nvPr/>
        </p:nvGrpSpPr>
        <p:grpSpPr>
          <a:xfrm>
            <a:off x="2387289" y="2937074"/>
            <a:ext cx="1398905" cy="1398905"/>
            <a:chOff x="5075238" y="2397903"/>
            <a:chExt cx="2286000" cy="2286000"/>
          </a:xfrm>
        </p:grpSpPr>
        <p:sp>
          <p:nvSpPr>
            <p:cNvPr id="90" name="Oval 89"/>
            <p:cNvSpPr/>
            <p:nvPr/>
          </p:nvSpPr>
          <p:spPr bwMode="auto">
            <a:xfrm>
              <a:off x="5075238" y="2397903"/>
              <a:ext cx="2286000" cy="22860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13"/>
            <p:cNvSpPr>
              <a:spLocks noChangeAspect="1" noEditPoints="1"/>
            </p:cNvSpPr>
            <p:nvPr/>
          </p:nvSpPr>
          <p:spPr bwMode="auto">
            <a:xfrm>
              <a:off x="5791836" y="3080021"/>
              <a:ext cx="852804" cy="86520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sp>
        <p:nvSpPr>
          <p:cNvPr id="30" name="TextBox 29"/>
          <p:cNvSpPr txBox="1"/>
          <p:nvPr/>
        </p:nvSpPr>
        <p:spPr>
          <a:xfrm>
            <a:off x="2319196" y="4965789"/>
            <a:ext cx="1523846" cy="403433"/>
          </a:xfrm>
          <a:prstGeom prst="rect">
            <a:avLst/>
          </a:prstGeom>
          <a:noFill/>
        </p:spPr>
        <p:txBody>
          <a:bodyPr wrap="square" lIns="0" tIns="0" rIns="0" bIns="0" rtlCol="0">
            <a:spAutoFit/>
          </a:bodyPr>
          <a:lstStyle/>
          <a:p>
            <a:pPr algn="ctr" defTabSz="932563">
              <a:lnSpc>
                <a:spcPct val="90000"/>
              </a:lnSpc>
              <a:spcAft>
                <a:spcPts val="600"/>
              </a:spcAft>
            </a:pPr>
            <a:r>
              <a:rPr lang="en-US" sz="2856" spc="-102" dirty="0">
                <a:ln w="3175">
                  <a:noFill/>
                </a:ln>
                <a:solidFill>
                  <a:srgbClr val="FFFFFF"/>
                </a:solidFill>
                <a:cs typeface="Segoe UI Semibold" panose="020B0702040204020203" pitchFamily="34" charset="0"/>
              </a:rPr>
              <a:t>End User</a:t>
            </a:r>
          </a:p>
        </p:txBody>
      </p:sp>
      <p:sp>
        <p:nvSpPr>
          <p:cNvPr id="12" name="Title 1"/>
          <p:cNvSpPr txBox="1">
            <a:spLocks/>
          </p:cNvSpPr>
          <p:nvPr/>
        </p:nvSpPr>
        <p:spPr>
          <a:xfrm>
            <a:off x="8381603" y="1167205"/>
            <a:ext cx="3534567" cy="1222090"/>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672">
                <a:solidFill>
                  <a:srgbClr val="FFFFFF"/>
                </a:solidFill>
              </a:rPr>
              <a:t>3</a:t>
            </a:r>
            <a:r>
              <a:rPr sz="3672" baseline="30000">
                <a:solidFill>
                  <a:srgbClr val="FFFFFF"/>
                </a:solidFill>
              </a:rPr>
              <a:t>rd</a:t>
            </a:r>
            <a:r>
              <a:rPr sz="3672">
                <a:solidFill>
                  <a:srgbClr val="FFFFFF"/>
                </a:solidFill>
              </a:rPr>
              <a:t> Wave</a:t>
            </a:r>
            <a:br>
              <a:rPr sz="3672">
                <a:solidFill>
                  <a:srgbClr val="FFFFFF"/>
                </a:solidFill>
              </a:rPr>
            </a:br>
            <a:r>
              <a:rPr sz="3672">
                <a:solidFill>
                  <a:srgbClr val="FFFFFF"/>
                </a:solidFill>
                <a:latin typeface="Segoe UI Semibold" panose="020B0702040204020203" pitchFamily="34" charset="0"/>
                <a:cs typeface="Segoe UI Semibold" panose="020B0702040204020203" pitchFamily="34" charset="0"/>
              </a:rPr>
              <a:t>End User BI</a:t>
            </a:r>
            <a:endParaRPr sz="4799">
              <a:solidFill>
                <a:srgbClr val="FFFFFF"/>
              </a:solidFill>
              <a:latin typeface="Segoe UI Semibold" panose="020B0702040204020203" pitchFamily="34" charset="0"/>
              <a:cs typeface="Segoe UI Semibold" panose="020B0702040204020203" pitchFamily="34" charset="0"/>
            </a:endParaRPr>
          </a:p>
        </p:txBody>
      </p:sp>
      <p:sp>
        <p:nvSpPr>
          <p:cNvPr id="14" name="Oval 13"/>
          <p:cNvSpPr/>
          <p:nvPr/>
        </p:nvSpPr>
        <p:spPr bwMode="auto">
          <a:xfrm>
            <a:off x="8541115" y="5742047"/>
            <a:ext cx="3215545" cy="312691"/>
          </a:xfrm>
          <a:prstGeom prst="ellipse">
            <a:avLst/>
          </a:prstGeom>
          <a:gradFill flip="none" rotWithShape="1">
            <a:gsLst>
              <a:gs pos="1000">
                <a:srgbClr val="000000">
                  <a:alpha val="15000"/>
                </a:srgbClr>
              </a:gs>
              <a:gs pos="100000">
                <a:srgbClr val="000000">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p:cNvSpPr txBox="1"/>
          <p:nvPr/>
        </p:nvSpPr>
        <p:spPr>
          <a:xfrm>
            <a:off x="9188927" y="4965789"/>
            <a:ext cx="1919922" cy="403433"/>
          </a:xfrm>
          <a:prstGeom prst="rect">
            <a:avLst/>
          </a:prstGeom>
          <a:noFill/>
        </p:spPr>
        <p:txBody>
          <a:bodyPr wrap="square" lIns="0" tIns="0" rIns="0" bIns="0" rtlCol="0">
            <a:spAutoFit/>
          </a:bodyPr>
          <a:lstStyle/>
          <a:p>
            <a:pPr algn="ctr" defTabSz="932563">
              <a:lnSpc>
                <a:spcPct val="90000"/>
              </a:lnSpc>
              <a:spcAft>
                <a:spcPts val="600"/>
              </a:spcAft>
            </a:pPr>
            <a:r>
              <a:rPr lang="en-US" sz="2856" spc="-102" dirty="0">
                <a:ln w="3175">
                  <a:noFill/>
                </a:ln>
                <a:solidFill>
                  <a:srgbClr val="FFFFFF"/>
                </a:solidFill>
                <a:cs typeface="Segoe UI Semibold" panose="020B0702040204020203" pitchFamily="34" charset="0"/>
              </a:rPr>
              <a:t>Everyone</a:t>
            </a:r>
          </a:p>
        </p:txBody>
      </p:sp>
      <p:sp>
        <p:nvSpPr>
          <p:cNvPr id="8" name="Title 1"/>
          <p:cNvSpPr txBox="1">
            <a:spLocks/>
          </p:cNvSpPr>
          <p:nvPr/>
        </p:nvSpPr>
        <p:spPr>
          <a:xfrm>
            <a:off x="480827" y="1167205"/>
            <a:ext cx="3530573" cy="1222090"/>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672">
                <a:solidFill>
                  <a:srgbClr val="FFFFFF"/>
                </a:solidFill>
              </a:rPr>
              <a:t>1</a:t>
            </a:r>
            <a:r>
              <a:rPr sz="3672" baseline="30000">
                <a:solidFill>
                  <a:srgbClr val="FFFFFF"/>
                </a:solidFill>
              </a:rPr>
              <a:t>st</a:t>
            </a:r>
            <a:r>
              <a:rPr sz="3672">
                <a:solidFill>
                  <a:srgbClr val="FFFFFF"/>
                </a:solidFill>
              </a:rPr>
              <a:t> Wave</a:t>
            </a:r>
            <a:br>
              <a:rPr sz="3672">
                <a:solidFill>
                  <a:srgbClr val="FFFFFF"/>
                </a:solidFill>
              </a:rPr>
            </a:br>
            <a:r>
              <a:rPr sz="3672">
                <a:solidFill>
                  <a:srgbClr val="FFFFFF"/>
                </a:solidFill>
                <a:latin typeface="Segoe UI Semibold" panose="020B0702040204020203" pitchFamily="34" charset="0"/>
                <a:cs typeface="Segoe UI Semibold" panose="020B0702040204020203" pitchFamily="34" charset="0"/>
              </a:rPr>
              <a:t>Technical BI</a:t>
            </a:r>
          </a:p>
        </p:txBody>
      </p:sp>
      <p:sp>
        <p:nvSpPr>
          <p:cNvPr id="13" name="Oval 12"/>
          <p:cNvSpPr/>
          <p:nvPr/>
        </p:nvSpPr>
        <p:spPr bwMode="auto">
          <a:xfrm>
            <a:off x="638342" y="5742047"/>
            <a:ext cx="3215545" cy="312691"/>
          </a:xfrm>
          <a:prstGeom prst="ellipse">
            <a:avLst/>
          </a:prstGeom>
          <a:gradFill flip="none" rotWithShape="1">
            <a:gsLst>
              <a:gs pos="1000">
                <a:srgbClr val="000000">
                  <a:alpha val="15000"/>
                </a:srgbClr>
              </a:gs>
              <a:gs pos="100000">
                <a:srgbClr val="000000">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9" name="Right Arrow 38"/>
          <p:cNvSpPr/>
          <p:nvPr/>
        </p:nvSpPr>
        <p:spPr bwMode="auto">
          <a:xfrm>
            <a:off x="2036966" y="3499744"/>
            <a:ext cx="298433" cy="273564"/>
          </a:xfrm>
          <a:prstGeom prst="rightArrow">
            <a:avLst/>
          </a:prstGeom>
          <a:solidFill>
            <a:srgbClr val="D9D9D9"/>
          </a:solidFill>
          <a:ln w="69850" cap="sq">
            <a:noFill/>
            <a:prstDash val="solid"/>
            <a:miter lim="800000"/>
            <a:headEnd/>
            <a:tailEnd/>
          </a:ln>
        </p:spPr>
        <p:txBody>
          <a:bodyPr vert="horz" wrap="square" lIns="93260" tIns="46630" rIns="93260" bIns="46630" numCol="1" anchor="t" anchorCtr="0" compatLnSpc="1">
            <a:prstTxWarp prst="textNoShape">
              <a:avLst/>
            </a:prstTxWarp>
          </a:bodyPr>
          <a:lstStyle/>
          <a:p>
            <a:endParaRPr lang="en-US" sz="2497" dirty="0" err="1">
              <a:solidFill>
                <a:srgbClr val="FFFFFF">
                  <a:lumMod val="85000"/>
                </a:srgbClr>
              </a:solidFill>
            </a:endParaRPr>
          </a:p>
        </p:txBody>
      </p:sp>
      <p:sp>
        <p:nvSpPr>
          <p:cNvPr id="40" name="Right Arrow 39"/>
          <p:cNvSpPr/>
          <p:nvPr/>
        </p:nvSpPr>
        <p:spPr bwMode="auto">
          <a:xfrm>
            <a:off x="3925995" y="3258207"/>
            <a:ext cx="570685" cy="613015"/>
          </a:xfrm>
          <a:prstGeom prst="rightArrow">
            <a:avLst/>
          </a:prstGeom>
          <a:solidFill>
            <a:schemeClr val="bg1">
              <a:lumMod val="50000"/>
            </a:schemeClr>
          </a:solidFill>
          <a:ln w="69850" cap="sq">
            <a:noFill/>
            <a:prstDash val="solid"/>
            <a:miter lim="800000"/>
            <a:headEnd/>
            <a:tailEnd/>
          </a:ln>
        </p:spPr>
        <p:txBody>
          <a:bodyPr vert="horz" wrap="square" lIns="93260" tIns="46630" rIns="93260" bIns="46630" numCol="1" anchor="t" anchorCtr="0" compatLnSpc="1">
            <a:prstTxWarp prst="textNoShape">
              <a:avLst/>
            </a:prstTxWarp>
          </a:bodyPr>
          <a:lstStyle/>
          <a:p>
            <a:endParaRPr lang="en-US" sz="2497" dirty="0" err="1">
              <a:solidFill>
                <a:srgbClr val="FFFFFF">
                  <a:lumMod val="85000"/>
                </a:srgbClr>
              </a:solidFill>
            </a:endParaRPr>
          </a:p>
        </p:txBody>
      </p:sp>
      <p:sp>
        <p:nvSpPr>
          <p:cNvPr id="9" name="Oval 8"/>
          <p:cNvSpPr/>
          <p:nvPr/>
        </p:nvSpPr>
        <p:spPr bwMode="auto">
          <a:xfrm>
            <a:off x="4610466" y="5742047"/>
            <a:ext cx="3215545" cy="312691"/>
          </a:xfrm>
          <a:prstGeom prst="ellipse">
            <a:avLst/>
          </a:prstGeom>
          <a:gradFill flip="none" rotWithShape="1">
            <a:gsLst>
              <a:gs pos="1000">
                <a:srgbClr val="000000">
                  <a:alpha val="15000"/>
                </a:srgbClr>
              </a:gs>
              <a:gs pos="100000">
                <a:srgbClr val="000000">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txBox="1">
            <a:spLocks/>
          </p:cNvSpPr>
          <p:nvPr/>
        </p:nvSpPr>
        <p:spPr>
          <a:xfrm>
            <a:off x="4450954" y="1167205"/>
            <a:ext cx="3534567" cy="1222090"/>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672">
                <a:solidFill>
                  <a:srgbClr val="FFFFFF"/>
                </a:solidFill>
              </a:rPr>
              <a:t>2</a:t>
            </a:r>
            <a:r>
              <a:rPr sz="3672" baseline="30000">
                <a:solidFill>
                  <a:srgbClr val="FFFFFF"/>
                </a:solidFill>
              </a:rPr>
              <a:t>nd</a:t>
            </a:r>
            <a:r>
              <a:rPr sz="3672">
                <a:solidFill>
                  <a:srgbClr val="FFFFFF"/>
                </a:solidFill>
              </a:rPr>
              <a:t> Wave</a:t>
            </a:r>
            <a:br>
              <a:rPr sz="3672">
                <a:solidFill>
                  <a:srgbClr val="FFFFFF"/>
                </a:solidFill>
              </a:rPr>
            </a:br>
            <a:r>
              <a:rPr sz="3672">
                <a:solidFill>
                  <a:srgbClr val="FFFFFF"/>
                </a:solidFill>
                <a:latin typeface="Segoe UI Semibold" panose="020B0702040204020203" pitchFamily="34" charset="0"/>
                <a:cs typeface="Segoe UI Semibold" panose="020B0702040204020203" pitchFamily="34" charset="0"/>
              </a:rPr>
              <a:t>Self Service BI</a:t>
            </a:r>
          </a:p>
        </p:txBody>
      </p:sp>
      <p:sp>
        <p:nvSpPr>
          <p:cNvPr id="32" name="TextBox 31"/>
          <p:cNvSpPr txBox="1"/>
          <p:nvPr/>
        </p:nvSpPr>
        <p:spPr>
          <a:xfrm>
            <a:off x="6141061" y="4965789"/>
            <a:ext cx="1919922" cy="403433"/>
          </a:xfrm>
          <a:prstGeom prst="rect">
            <a:avLst/>
          </a:prstGeom>
          <a:noFill/>
        </p:spPr>
        <p:txBody>
          <a:bodyPr wrap="square" lIns="0" tIns="0" rIns="0" bIns="0" rtlCol="0">
            <a:spAutoFit/>
          </a:bodyPr>
          <a:lstStyle/>
          <a:p>
            <a:pPr algn="ctr" defTabSz="932563">
              <a:lnSpc>
                <a:spcPct val="90000"/>
              </a:lnSpc>
              <a:spcAft>
                <a:spcPts val="600"/>
              </a:spcAft>
            </a:pPr>
            <a:r>
              <a:rPr lang="en-US" sz="2856" spc="-102" dirty="0">
                <a:ln w="3175">
                  <a:noFill/>
                </a:ln>
                <a:solidFill>
                  <a:srgbClr val="FFFFFF"/>
                </a:solidFill>
                <a:cs typeface="Segoe UI Semibold" panose="020B0702040204020203" pitchFamily="34" charset="0"/>
              </a:rPr>
              <a:t>End User</a:t>
            </a:r>
          </a:p>
        </p:txBody>
      </p:sp>
      <p:sp>
        <p:nvSpPr>
          <p:cNvPr id="41" name="Right Arrow 40"/>
          <p:cNvSpPr/>
          <p:nvPr/>
        </p:nvSpPr>
        <p:spPr bwMode="auto">
          <a:xfrm>
            <a:off x="6069021" y="3456223"/>
            <a:ext cx="298433" cy="273564"/>
          </a:xfrm>
          <a:prstGeom prst="rightArrow">
            <a:avLst/>
          </a:prstGeom>
          <a:solidFill>
            <a:srgbClr val="D9D9D9"/>
          </a:solidFill>
          <a:ln w="69850" cap="sq">
            <a:noFill/>
            <a:prstDash val="solid"/>
            <a:miter lim="800000"/>
            <a:headEnd/>
            <a:tailEnd/>
          </a:ln>
        </p:spPr>
        <p:txBody>
          <a:bodyPr vert="horz" wrap="square" lIns="93260" tIns="46630" rIns="93260" bIns="46630" numCol="1" anchor="t" anchorCtr="0" compatLnSpc="1">
            <a:prstTxWarp prst="textNoShape">
              <a:avLst/>
            </a:prstTxWarp>
          </a:bodyPr>
          <a:lstStyle/>
          <a:p>
            <a:endParaRPr lang="en-US" sz="2497" dirty="0" err="1">
              <a:solidFill>
                <a:srgbClr val="FFFFFF">
                  <a:lumMod val="85000"/>
                </a:srgbClr>
              </a:solidFill>
            </a:endParaRPr>
          </a:p>
        </p:txBody>
      </p:sp>
      <p:sp>
        <p:nvSpPr>
          <p:cNvPr id="42" name="Right Arrow 41"/>
          <p:cNvSpPr/>
          <p:nvPr/>
        </p:nvSpPr>
        <p:spPr bwMode="auto">
          <a:xfrm>
            <a:off x="8127863" y="3259371"/>
            <a:ext cx="570685" cy="613015"/>
          </a:xfrm>
          <a:prstGeom prst="rightArrow">
            <a:avLst/>
          </a:prstGeom>
          <a:solidFill>
            <a:schemeClr val="bg1">
              <a:lumMod val="50000"/>
            </a:schemeClr>
          </a:solidFill>
          <a:ln w="69850" cap="sq">
            <a:noFill/>
            <a:prstDash val="solid"/>
            <a:miter lim="800000"/>
            <a:headEnd/>
            <a:tailEnd/>
          </a:ln>
        </p:spPr>
        <p:txBody>
          <a:bodyPr vert="horz" wrap="square" lIns="93260" tIns="46630" rIns="93260" bIns="46630" numCol="1" anchor="t" anchorCtr="0" compatLnSpc="1">
            <a:prstTxWarp prst="textNoShape">
              <a:avLst/>
            </a:prstTxWarp>
          </a:bodyPr>
          <a:lstStyle/>
          <a:p>
            <a:endParaRPr lang="en-US" sz="2497" dirty="0" err="1">
              <a:solidFill>
                <a:srgbClr val="FFFFFF">
                  <a:lumMod val="85000"/>
                </a:srgbClr>
              </a:solidFill>
            </a:endParaRPr>
          </a:p>
        </p:txBody>
      </p:sp>
      <p:grpSp>
        <p:nvGrpSpPr>
          <p:cNvPr id="43" name="Group 42"/>
          <p:cNvGrpSpPr/>
          <p:nvPr/>
        </p:nvGrpSpPr>
        <p:grpSpPr>
          <a:xfrm>
            <a:off x="1486730" y="2937074"/>
            <a:ext cx="1398905" cy="1398905"/>
            <a:chOff x="2112582" y="2397903"/>
            <a:chExt cx="2286000" cy="2286000"/>
          </a:xfrm>
        </p:grpSpPr>
        <p:sp>
          <p:nvSpPr>
            <p:cNvPr id="44" name="Oval 43"/>
            <p:cNvSpPr/>
            <p:nvPr/>
          </p:nvSpPr>
          <p:spPr bwMode="auto">
            <a:xfrm>
              <a:off x="2112582" y="2397903"/>
              <a:ext cx="2286000" cy="22860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25"/>
            <p:cNvSpPr>
              <a:spLocks noChangeAspect="1" noEditPoints="1"/>
            </p:cNvSpPr>
            <p:nvPr/>
          </p:nvSpPr>
          <p:spPr bwMode="auto">
            <a:xfrm>
              <a:off x="2846482" y="3100792"/>
              <a:ext cx="818201" cy="880222"/>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sp>
        <p:nvSpPr>
          <p:cNvPr id="46" name="TextBox 45"/>
          <p:cNvSpPr txBox="1"/>
          <p:nvPr/>
        </p:nvSpPr>
        <p:spPr>
          <a:xfrm>
            <a:off x="1555121" y="4965789"/>
            <a:ext cx="1262123" cy="403433"/>
          </a:xfrm>
          <a:prstGeom prst="rect">
            <a:avLst/>
          </a:prstGeom>
          <a:noFill/>
        </p:spPr>
        <p:txBody>
          <a:bodyPr wrap="square" lIns="0" tIns="0" rIns="0" bIns="0" rtlCol="0">
            <a:spAutoFit/>
          </a:bodyPr>
          <a:lstStyle/>
          <a:p>
            <a:pPr algn="ctr" defTabSz="932563">
              <a:lnSpc>
                <a:spcPct val="90000"/>
              </a:lnSpc>
              <a:spcAft>
                <a:spcPts val="600"/>
              </a:spcAft>
            </a:pPr>
            <a:r>
              <a:rPr lang="en-US" sz="2856" spc="-102" dirty="0">
                <a:ln w="3175">
                  <a:noFill/>
                </a:ln>
                <a:solidFill>
                  <a:srgbClr val="FFFFFF"/>
                </a:solidFill>
                <a:cs typeface="Segoe UI Semibold" panose="020B0702040204020203" pitchFamily="34" charset="0"/>
              </a:rPr>
              <a:t>IT</a:t>
            </a:r>
          </a:p>
        </p:txBody>
      </p:sp>
      <p:sp>
        <p:nvSpPr>
          <p:cNvPr id="61" name="TextBox 60"/>
          <p:cNvSpPr txBox="1"/>
          <p:nvPr/>
        </p:nvSpPr>
        <p:spPr>
          <a:xfrm>
            <a:off x="5214513" y="4965789"/>
            <a:ext cx="1919922" cy="403433"/>
          </a:xfrm>
          <a:prstGeom prst="rect">
            <a:avLst/>
          </a:prstGeom>
          <a:noFill/>
        </p:spPr>
        <p:txBody>
          <a:bodyPr wrap="square" lIns="0" tIns="0" rIns="0" bIns="0" rtlCol="0">
            <a:spAutoFit/>
          </a:bodyPr>
          <a:lstStyle/>
          <a:p>
            <a:pPr algn="ctr" defTabSz="932563">
              <a:lnSpc>
                <a:spcPct val="90000"/>
              </a:lnSpc>
              <a:spcAft>
                <a:spcPts val="600"/>
              </a:spcAft>
            </a:pPr>
            <a:r>
              <a:rPr lang="en-US" sz="2856" spc="-102" dirty="0">
                <a:ln w="3175">
                  <a:noFill/>
                </a:ln>
                <a:solidFill>
                  <a:srgbClr val="FFFFFF"/>
                </a:solidFill>
                <a:cs typeface="Segoe UI Semibold" panose="020B0702040204020203" pitchFamily="34" charset="0"/>
              </a:rPr>
              <a:t>Analyst</a:t>
            </a:r>
          </a:p>
        </p:txBody>
      </p:sp>
      <p:grpSp>
        <p:nvGrpSpPr>
          <p:cNvPr id="92" name="Group 91"/>
          <p:cNvGrpSpPr/>
          <p:nvPr/>
        </p:nvGrpSpPr>
        <p:grpSpPr>
          <a:xfrm>
            <a:off x="6413720" y="2937074"/>
            <a:ext cx="1398905" cy="1398905"/>
            <a:chOff x="5075238" y="2397903"/>
            <a:chExt cx="2286000" cy="2286000"/>
          </a:xfrm>
        </p:grpSpPr>
        <p:sp>
          <p:nvSpPr>
            <p:cNvPr id="93" name="Oval 92"/>
            <p:cNvSpPr/>
            <p:nvPr/>
          </p:nvSpPr>
          <p:spPr bwMode="auto">
            <a:xfrm>
              <a:off x="5075238" y="2397903"/>
              <a:ext cx="2286000" cy="22860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13"/>
            <p:cNvSpPr>
              <a:spLocks noChangeAspect="1" noEditPoints="1"/>
            </p:cNvSpPr>
            <p:nvPr/>
          </p:nvSpPr>
          <p:spPr bwMode="auto">
            <a:xfrm>
              <a:off x="5791836" y="3080021"/>
              <a:ext cx="852804" cy="86520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grpSp>
      <p:grpSp>
        <p:nvGrpSpPr>
          <p:cNvPr id="95" name="Group 94"/>
          <p:cNvGrpSpPr/>
          <p:nvPr/>
        </p:nvGrpSpPr>
        <p:grpSpPr>
          <a:xfrm>
            <a:off x="5518785" y="2937074"/>
            <a:ext cx="1398905" cy="1398905"/>
            <a:chOff x="4579443" y="2879746"/>
            <a:chExt cx="1371600" cy="1371600"/>
          </a:xfrm>
        </p:grpSpPr>
        <p:sp>
          <p:nvSpPr>
            <p:cNvPr id="96" name="Oval 95"/>
            <p:cNvSpPr/>
            <p:nvPr/>
          </p:nvSpPr>
          <p:spPr bwMode="auto">
            <a:xfrm>
              <a:off x="4579443" y="2879746"/>
              <a:ext cx="1371600" cy="13716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4"/>
            <p:cNvGrpSpPr>
              <a:grpSpLocks/>
            </p:cNvGrpSpPr>
            <p:nvPr/>
          </p:nvGrpSpPr>
          <p:grpSpPr bwMode="auto">
            <a:xfrm>
              <a:off x="5022058" y="3298032"/>
              <a:ext cx="484632" cy="507030"/>
              <a:chOff x="3730" y="2047"/>
              <a:chExt cx="220" cy="226"/>
            </a:xfrm>
          </p:grpSpPr>
          <p:sp>
            <p:nvSpPr>
              <p:cNvPr id="98" name="AutoShape 3"/>
              <p:cNvSpPr>
                <a:spLocks noChangeAspect="1" noChangeArrowheads="1" noTextEdit="1"/>
              </p:cNvSpPr>
              <p:nvPr/>
            </p:nvSpPr>
            <p:spPr bwMode="auto">
              <a:xfrm>
                <a:off x="3730" y="2047"/>
                <a:ext cx="22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99" name="Oval 5"/>
              <p:cNvSpPr>
                <a:spLocks noChangeArrowheads="1"/>
              </p:cNvSpPr>
              <p:nvPr/>
            </p:nvSpPr>
            <p:spPr bwMode="auto">
              <a:xfrm>
                <a:off x="3798" y="2049"/>
                <a:ext cx="88" cy="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0" name="Freeform 6"/>
              <p:cNvSpPr>
                <a:spLocks noEditPoints="1"/>
              </p:cNvSpPr>
              <p:nvPr/>
            </p:nvSpPr>
            <p:spPr bwMode="auto">
              <a:xfrm>
                <a:off x="3838"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1"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grpSp>
      </p:grpSp>
      <p:grpSp>
        <p:nvGrpSpPr>
          <p:cNvPr id="24" name="Group 23"/>
          <p:cNvGrpSpPr/>
          <p:nvPr/>
        </p:nvGrpSpPr>
        <p:grpSpPr>
          <a:xfrm>
            <a:off x="9089405" y="2577044"/>
            <a:ext cx="2118964" cy="2118964"/>
            <a:chOff x="8911126" y="2526744"/>
            <a:chExt cx="2077604" cy="2077604"/>
          </a:xfrm>
        </p:grpSpPr>
        <p:sp>
          <p:nvSpPr>
            <p:cNvPr id="20" name="Oval 19"/>
            <p:cNvSpPr/>
            <p:nvPr/>
          </p:nvSpPr>
          <p:spPr bwMode="auto">
            <a:xfrm>
              <a:off x="8911126" y="2526744"/>
              <a:ext cx="2077604" cy="2077604"/>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13"/>
            <p:cNvSpPr>
              <a:spLocks noChangeAspect="1" noEditPoints="1"/>
            </p:cNvSpPr>
            <p:nvPr/>
          </p:nvSpPr>
          <p:spPr bwMode="auto">
            <a:xfrm>
              <a:off x="10080015" y="3138919"/>
              <a:ext cx="723334" cy="733850"/>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73" name="Freeform 25"/>
            <p:cNvSpPr>
              <a:spLocks noChangeAspect="1" noEditPoints="1"/>
            </p:cNvSpPr>
            <p:nvPr/>
          </p:nvSpPr>
          <p:spPr bwMode="auto">
            <a:xfrm>
              <a:off x="9593601" y="2721065"/>
              <a:ext cx="682142" cy="73385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88" name="Freeform 5"/>
            <p:cNvSpPr>
              <a:spLocks noChangeAspect="1" noEditPoints="1"/>
            </p:cNvSpPr>
            <p:nvPr/>
          </p:nvSpPr>
          <p:spPr bwMode="auto">
            <a:xfrm>
              <a:off x="9095090" y="3138919"/>
              <a:ext cx="696524" cy="731520"/>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nvGrpSpPr>
            <p:cNvPr id="106" name="Group 4"/>
            <p:cNvGrpSpPr>
              <a:grpSpLocks/>
            </p:cNvGrpSpPr>
            <p:nvPr/>
          </p:nvGrpSpPr>
          <p:grpSpPr bwMode="auto">
            <a:xfrm>
              <a:off x="9597810" y="3588703"/>
              <a:ext cx="685800" cy="731520"/>
              <a:chOff x="3730" y="2047"/>
              <a:chExt cx="220" cy="226"/>
            </a:xfrm>
          </p:grpSpPr>
          <p:sp>
            <p:nvSpPr>
              <p:cNvPr id="107" name="AutoShape 3"/>
              <p:cNvSpPr>
                <a:spLocks noChangeAspect="1" noChangeArrowheads="1" noTextEdit="1"/>
              </p:cNvSpPr>
              <p:nvPr/>
            </p:nvSpPr>
            <p:spPr bwMode="auto">
              <a:xfrm>
                <a:off x="3730" y="2047"/>
                <a:ext cx="22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8" name="Oval 5"/>
              <p:cNvSpPr>
                <a:spLocks noChangeArrowheads="1"/>
              </p:cNvSpPr>
              <p:nvPr/>
            </p:nvSpPr>
            <p:spPr bwMode="auto">
              <a:xfrm>
                <a:off x="3798" y="2049"/>
                <a:ext cx="88" cy="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9" name="Freeform 6"/>
              <p:cNvSpPr>
                <a:spLocks noEditPoints="1"/>
              </p:cNvSpPr>
              <p:nvPr/>
            </p:nvSpPr>
            <p:spPr bwMode="auto">
              <a:xfrm>
                <a:off x="3838"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10"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grpSp>
      </p:grpSp>
    </p:spTree>
    <p:extLst>
      <p:ext uri="{BB962C8B-B14F-4D97-AF65-F5344CB8AC3E}">
        <p14:creationId xmlns:p14="http://schemas.microsoft.com/office/powerpoint/2010/main" val="409524893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850"/>
                                        <p:tgtEl>
                                          <p:spTgt spid="8"/>
                                        </p:tgtEl>
                                      </p:cBhvr>
                                    </p:animEffect>
                                  </p:childTnLst>
                                </p:cTn>
                              </p:par>
                              <p:par>
                                <p:cTn id="8" presetID="42" presetClass="path" presetSubtype="0" decel="100000" fill="hold" grpId="1" nodeType="withEffect">
                                  <p:stCondLst>
                                    <p:cond delay="500"/>
                                  </p:stCondLst>
                                  <p:childTnLst>
                                    <p:animMotion origin="layout" path="M 0 1.48148E-6 L 0 0.10833 " pathEditMode="relative" rAng="0" ptsTypes="AA">
                                      <p:cBhvr>
                                        <p:cTn id="9" dur="850" spd="-100000" fill="hold"/>
                                        <p:tgtEl>
                                          <p:spTgt spid="8"/>
                                        </p:tgtEl>
                                        <p:attrNameLst>
                                          <p:attrName>ppt_x</p:attrName>
                                          <p:attrName>ppt_y</p:attrName>
                                        </p:attrNameLst>
                                      </p:cBhvr>
                                      <p:rCtr x="0" y="5417"/>
                                    </p:animMotion>
                                  </p:childTnLst>
                                </p:cTn>
                              </p:par>
                              <p:par>
                                <p:cTn id="10" presetID="10" presetClass="entr" presetSubtype="0" fill="hold" nodeType="withEffect">
                                  <p:stCondLst>
                                    <p:cond delay="50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500"/>
                                        <p:tgtEl>
                                          <p:spTgt spid="43"/>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46"/>
                                        </p:tgtEl>
                                        <p:attrNameLst>
                                          <p:attrName>style.visibility</p:attrName>
                                        </p:attrNameLst>
                                      </p:cBhvr>
                                      <p:to>
                                        <p:strVal val="visible"/>
                                      </p:to>
                                    </p:set>
                                    <p:animEffect transition="in" filter="fade">
                                      <p:cBhvr>
                                        <p:cTn id="15" dur="500"/>
                                        <p:tgtEl>
                                          <p:spTgt spid="46"/>
                                        </p:tgtEl>
                                      </p:cBhvr>
                                    </p:animEffect>
                                  </p:childTnLst>
                                </p:cTn>
                              </p:par>
                            </p:childTnLst>
                          </p:cTn>
                        </p:par>
                      </p:childTnLst>
                    </p:cTn>
                  </p:par>
                  <p:par>
                    <p:cTn id="16" fill="hold">
                      <p:stCondLst>
                        <p:cond delay="indefinite"/>
                      </p:stCondLst>
                      <p:childTnLst>
                        <p:par>
                          <p:cTn id="17" fill="hold">
                            <p:stCondLst>
                              <p:cond delay="0"/>
                            </p:stCondLst>
                            <p:childTnLst>
                              <p:par>
                                <p:cTn id="18" presetID="35" presetClass="path" presetSubtype="0" decel="100000" fill="hold" nodeType="clickEffect">
                                  <p:stCondLst>
                                    <p:cond delay="0"/>
                                  </p:stCondLst>
                                  <p:childTnLst>
                                    <p:animMotion origin="layout" path="M -1.25E-6 2.59259E-6 L -0.07252 2.59259E-6 " pathEditMode="relative" rAng="0" ptsTypes="AA">
                                      <p:cBhvr>
                                        <p:cTn id="19" dur="1000" fill="hold"/>
                                        <p:tgtEl>
                                          <p:spTgt spid="43"/>
                                        </p:tgtEl>
                                        <p:attrNameLst>
                                          <p:attrName>ppt_x</p:attrName>
                                          <p:attrName>ppt_y</p:attrName>
                                        </p:attrNameLst>
                                      </p:cBhvr>
                                      <p:rCtr x="-3919" y="0"/>
                                    </p:animMotion>
                                  </p:childTnLst>
                                </p:cTn>
                              </p:par>
                              <p:par>
                                <p:cTn id="20" presetID="35" presetClass="path" presetSubtype="0" decel="100000" fill="hold" grpId="1" nodeType="withEffect">
                                  <p:stCondLst>
                                    <p:cond delay="0"/>
                                  </p:stCondLst>
                                  <p:childTnLst>
                                    <p:animMotion origin="layout" path="M -1.04167E-6 -4.44444E-6 L -0.07239 -4.44444E-6 " pathEditMode="relative" rAng="0" ptsTypes="AA">
                                      <p:cBhvr>
                                        <p:cTn id="21" dur="1000" fill="hold"/>
                                        <p:tgtEl>
                                          <p:spTgt spid="46"/>
                                        </p:tgtEl>
                                        <p:attrNameLst>
                                          <p:attrName>ppt_x</p:attrName>
                                          <p:attrName>ppt_y</p:attrName>
                                        </p:attrNameLst>
                                      </p:cBhvr>
                                      <p:rCtr x="-3620" y="0"/>
                                    </p:animMotion>
                                  </p:childTnLst>
                                </p:cTn>
                              </p:par>
                              <p:par>
                                <p:cTn id="22" presetID="10" presetClass="entr" presetSubtype="0" fill="hold" grpId="0" nodeType="withEffect">
                                  <p:stCondLst>
                                    <p:cond delay="100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800"/>
                                        <p:tgtEl>
                                          <p:spTgt spid="13"/>
                                        </p:tgtEl>
                                      </p:cBhvr>
                                    </p:animEffect>
                                  </p:childTnLst>
                                </p:cTn>
                              </p:par>
                              <p:par>
                                <p:cTn id="25" presetID="1" presetClass="entr" presetSubtype="0" fill="hold" nodeType="withEffect">
                                  <p:stCondLst>
                                    <p:cond delay="1000"/>
                                  </p:stCondLst>
                                  <p:childTnLst>
                                    <p:set>
                                      <p:cBhvr>
                                        <p:cTn id="26" dur="1" fill="hold">
                                          <p:stCondLst>
                                            <p:cond delay="0"/>
                                          </p:stCondLst>
                                        </p:cTn>
                                        <p:tgtEl>
                                          <p:spTgt spid="89"/>
                                        </p:tgtEl>
                                        <p:attrNameLst>
                                          <p:attrName>style.visibility</p:attrName>
                                        </p:attrNameLst>
                                      </p:cBhvr>
                                      <p:to>
                                        <p:strVal val="visible"/>
                                      </p:to>
                                    </p:set>
                                  </p:childTnLst>
                                </p:cTn>
                              </p:par>
                              <p:par>
                                <p:cTn id="27" presetID="35" presetClass="path" presetSubtype="0" decel="100000" fill="hold" nodeType="withEffect">
                                  <p:stCondLst>
                                    <p:cond delay="1000"/>
                                  </p:stCondLst>
                                  <p:childTnLst>
                                    <p:animMotion origin="layout" path="M 2.91667E-6 2.59259E-6 L -0.14466 2.59259E-6 " pathEditMode="relative" rAng="0" ptsTypes="AA">
                                      <p:cBhvr>
                                        <p:cTn id="28" dur="1000" spd="-100000" fill="hold"/>
                                        <p:tgtEl>
                                          <p:spTgt spid="89"/>
                                        </p:tgtEl>
                                        <p:attrNameLst>
                                          <p:attrName>ppt_x</p:attrName>
                                          <p:attrName>ppt_y</p:attrName>
                                        </p:attrNameLst>
                                      </p:cBhvr>
                                      <p:rCtr x="-7240" y="0"/>
                                    </p:animMotion>
                                  </p:childTnLst>
                                </p:cTn>
                              </p:par>
                              <p:par>
                                <p:cTn id="29" presetID="10" presetClass="entr" presetSubtype="0" fill="hold" grpId="0" nodeType="withEffect">
                                  <p:stCondLst>
                                    <p:cond delay="175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10" presetClass="entr" presetSubtype="0" fill="hold" grpId="0" nodeType="withEffect">
                                  <p:stCondLst>
                                    <p:cond delay="1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11"/>
                                        </p:tgtEl>
                                        <p:attrNameLst>
                                          <p:attrName>style.visibility</p:attrName>
                                        </p:attrNameLst>
                                      </p:cBhvr>
                                      <p:to>
                                        <p:strVal val="visible"/>
                                      </p:to>
                                    </p:set>
                                    <p:animEffect transition="in" filter="fade">
                                      <p:cBhvr>
                                        <p:cTn id="42" dur="850"/>
                                        <p:tgtEl>
                                          <p:spTgt spid="11"/>
                                        </p:tgtEl>
                                      </p:cBhvr>
                                    </p:animEffect>
                                  </p:childTnLst>
                                </p:cTn>
                              </p:par>
                              <p:par>
                                <p:cTn id="43" presetID="42" presetClass="path" presetSubtype="0" decel="100000" fill="hold" grpId="1" nodeType="withEffect">
                                  <p:stCondLst>
                                    <p:cond delay="500"/>
                                  </p:stCondLst>
                                  <p:childTnLst>
                                    <p:animMotion origin="layout" path="M 0 2.22222E-6 L 0 0.10833 " pathEditMode="relative" rAng="0" ptsTypes="AA">
                                      <p:cBhvr>
                                        <p:cTn id="44" dur="850" spd="-100000" fill="hold"/>
                                        <p:tgtEl>
                                          <p:spTgt spid="11"/>
                                        </p:tgtEl>
                                        <p:attrNameLst>
                                          <p:attrName>ppt_x</p:attrName>
                                          <p:attrName>ppt_y</p:attrName>
                                        </p:attrNameLst>
                                      </p:cBhvr>
                                      <p:rCtr x="0" y="5417"/>
                                    </p:animMotion>
                                  </p:childTnLst>
                                </p:cTn>
                              </p:par>
                              <p:par>
                                <p:cTn id="45" presetID="10" presetClass="entr" presetSubtype="0" fill="hold" nodeType="withEffect">
                                  <p:stCondLst>
                                    <p:cond delay="500"/>
                                  </p:stCondLst>
                                  <p:childTnLst>
                                    <p:set>
                                      <p:cBhvr>
                                        <p:cTn id="46" dur="1" fill="hold">
                                          <p:stCondLst>
                                            <p:cond delay="0"/>
                                          </p:stCondLst>
                                        </p:cTn>
                                        <p:tgtEl>
                                          <p:spTgt spid="95"/>
                                        </p:tgtEl>
                                        <p:attrNameLst>
                                          <p:attrName>style.visibility</p:attrName>
                                        </p:attrNameLst>
                                      </p:cBhvr>
                                      <p:to>
                                        <p:strVal val="visible"/>
                                      </p:to>
                                    </p:set>
                                    <p:animEffect transition="in" filter="fade">
                                      <p:cBhvr>
                                        <p:cTn id="47" dur="500"/>
                                        <p:tgtEl>
                                          <p:spTgt spid="95"/>
                                        </p:tgtEl>
                                      </p:cBhvr>
                                    </p:animEffect>
                                  </p:childTnLst>
                                </p:cTn>
                              </p:par>
                              <p:par>
                                <p:cTn id="48" presetID="10" presetClass="entr" presetSubtype="0" fill="hold" grpId="0" nodeType="withEffect">
                                  <p:stCondLst>
                                    <p:cond delay="500"/>
                                  </p:stCondLst>
                                  <p:childTnLst>
                                    <p:set>
                                      <p:cBhvr>
                                        <p:cTn id="49" dur="1" fill="hold">
                                          <p:stCondLst>
                                            <p:cond delay="0"/>
                                          </p:stCondLst>
                                        </p:cTn>
                                        <p:tgtEl>
                                          <p:spTgt spid="61"/>
                                        </p:tgtEl>
                                        <p:attrNameLst>
                                          <p:attrName>style.visibility</p:attrName>
                                        </p:attrNameLst>
                                      </p:cBhvr>
                                      <p:to>
                                        <p:strVal val="visible"/>
                                      </p:to>
                                    </p:set>
                                    <p:animEffect transition="in" filter="fade">
                                      <p:cBhvr>
                                        <p:cTn id="50" dur="500"/>
                                        <p:tgtEl>
                                          <p:spTgt spid="61"/>
                                        </p:tgtEl>
                                      </p:cBhvr>
                                    </p:animEffect>
                                  </p:childTnLst>
                                </p:cTn>
                              </p:par>
                            </p:childTnLst>
                          </p:cTn>
                        </p:par>
                      </p:childTnLst>
                    </p:cTn>
                  </p:par>
                  <p:par>
                    <p:cTn id="51" fill="hold">
                      <p:stCondLst>
                        <p:cond delay="indefinite"/>
                      </p:stCondLst>
                      <p:childTnLst>
                        <p:par>
                          <p:cTn id="52" fill="hold">
                            <p:stCondLst>
                              <p:cond delay="0"/>
                            </p:stCondLst>
                            <p:childTnLst>
                              <p:par>
                                <p:cTn id="53" presetID="35" presetClass="path" presetSubtype="0" decel="100000" fill="hold" grpId="1" nodeType="clickEffect">
                                  <p:stCondLst>
                                    <p:cond delay="0"/>
                                  </p:stCondLst>
                                  <p:childTnLst>
                                    <p:animMotion origin="layout" path="M -4.375E-6 -4.44444E-6 L -0.07447 -4.44444E-6 " pathEditMode="relative" rAng="0" ptsTypes="AA">
                                      <p:cBhvr>
                                        <p:cTn id="54" dur="1000" fill="hold"/>
                                        <p:tgtEl>
                                          <p:spTgt spid="61"/>
                                        </p:tgtEl>
                                        <p:attrNameLst>
                                          <p:attrName>ppt_x</p:attrName>
                                          <p:attrName>ppt_y</p:attrName>
                                        </p:attrNameLst>
                                      </p:cBhvr>
                                      <p:rCtr x="-3724" y="0"/>
                                    </p:animMotion>
                                  </p:childTnLst>
                                </p:cTn>
                              </p:par>
                              <p:par>
                                <p:cTn id="55" presetID="35" presetClass="path" presetSubtype="0" decel="100000" fill="hold" nodeType="withEffect">
                                  <p:stCondLst>
                                    <p:cond delay="0"/>
                                  </p:stCondLst>
                                  <p:childTnLst>
                                    <p:animMotion origin="layout" path="M -1.25E-6 2.59259E-6 L -0.07252 2.59259E-6 " pathEditMode="relative" rAng="0" ptsTypes="AA">
                                      <p:cBhvr>
                                        <p:cTn id="56" dur="1000" fill="hold"/>
                                        <p:tgtEl>
                                          <p:spTgt spid="95"/>
                                        </p:tgtEl>
                                        <p:attrNameLst>
                                          <p:attrName>ppt_x</p:attrName>
                                          <p:attrName>ppt_y</p:attrName>
                                        </p:attrNameLst>
                                      </p:cBhvr>
                                      <p:rCtr x="-3919" y="0"/>
                                    </p:animMotion>
                                  </p:childTnLst>
                                </p:cTn>
                              </p:par>
                              <p:par>
                                <p:cTn id="57" presetID="10" presetClass="entr" presetSubtype="0" fill="hold" grpId="0" nodeType="withEffect">
                                  <p:stCondLst>
                                    <p:cond delay="1000"/>
                                  </p:stCondLst>
                                  <p:childTnLst>
                                    <p:set>
                                      <p:cBhvr>
                                        <p:cTn id="58" dur="1" fill="hold">
                                          <p:stCondLst>
                                            <p:cond delay="0"/>
                                          </p:stCondLst>
                                        </p:cTn>
                                        <p:tgtEl>
                                          <p:spTgt spid="9"/>
                                        </p:tgtEl>
                                        <p:attrNameLst>
                                          <p:attrName>style.visibility</p:attrName>
                                        </p:attrNameLst>
                                      </p:cBhvr>
                                      <p:to>
                                        <p:strVal val="visible"/>
                                      </p:to>
                                    </p:set>
                                    <p:animEffect transition="in" filter="fade">
                                      <p:cBhvr>
                                        <p:cTn id="59" dur="800"/>
                                        <p:tgtEl>
                                          <p:spTgt spid="9"/>
                                        </p:tgtEl>
                                      </p:cBhvr>
                                    </p:animEffect>
                                  </p:childTnLst>
                                </p:cTn>
                              </p:par>
                              <p:par>
                                <p:cTn id="60" presetID="1" presetClass="entr" presetSubtype="0" fill="hold" nodeType="withEffect">
                                  <p:stCondLst>
                                    <p:cond delay="1000"/>
                                  </p:stCondLst>
                                  <p:childTnLst>
                                    <p:set>
                                      <p:cBhvr>
                                        <p:cTn id="61" dur="1" fill="hold">
                                          <p:stCondLst>
                                            <p:cond delay="0"/>
                                          </p:stCondLst>
                                        </p:cTn>
                                        <p:tgtEl>
                                          <p:spTgt spid="92"/>
                                        </p:tgtEl>
                                        <p:attrNameLst>
                                          <p:attrName>style.visibility</p:attrName>
                                        </p:attrNameLst>
                                      </p:cBhvr>
                                      <p:to>
                                        <p:strVal val="visible"/>
                                      </p:to>
                                    </p:set>
                                  </p:childTnLst>
                                </p:cTn>
                              </p:par>
                              <p:par>
                                <p:cTn id="62" presetID="35" presetClass="path" presetSubtype="0" decel="100000" fill="hold" nodeType="withEffect">
                                  <p:stCondLst>
                                    <p:cond delay="1000"/>
                                  </p:stCondLst>
                                  <p:childTnLst>
                                    <p:animMotion origin="layout" path="M 4.79167E-6 2.59259E-6 L -0.13152 2.59259E-6 " pathEditMode="relative" rAng="0" ptsTypes="AA">
                                      <p:cBhvr>
                                        <p:cTn id="63" dur="1000" spd="-100000" fill="hold"/>
                                        <p:tgtEl>
                                          <p:spTgt spid="92"/>
                                        </p:tgtEl>
                                        <p:attrNameLst>
                                          <p:attrName>ppt_x</p:attrName>
                                          <p:attrName>ppt_y</p:attrName>
                                        </p:attrNameLst>
                                      </p:cBhvr>
                                      <p:rCtr x="-6576" y="0"/>
                                    </p:animMotion>
                                  </p:childTnLst>
                                </p:cTn>
                              </p:par>
                              <p:par>
                                <p:cTn id="64" presetID="10" presetClass="entr" presetSubtype="0" fill="hold" grpId="0" nodeType="withEffect">
                                  <p:stCondLst>
                                    <p:cond delay="1750"/>
                                  </p:stCondLst>
                                  <p:childTnLst>
                                    <p:set>
                                      <p:cBhvr>
                                        <p:cTn id="65" dur="1" fill="hold">
                                          <p:stCondLst>
                                            <p:cond delay="0"/>
                                          </p:stCondLst>
                                        </p:cTn>
                                        <p:tgtEl>
                                          <p:spTgt spid="41"/>
                                        </p:tgtEl>
                                        <p:attrNameLst>
                                          <p:attrName>style.visibility</p:attrName>
                                        </p:attrNameLst>
                                      </p:cBhvr>
                                      <p:to>
                                        <p:strVal val="visible"/>
                                      </p:to>
                                    </p:set>
                                    <p:animEffect transition="in" filter="fade">
                                      <p:cBhvr>
                                        <p:cTn id="66" dur="500"/>
                                        <p:tgtEl>
                                          <p:spTgt spid="41"/>
                                        </p:tgtEl>
                                      </p:cBhvr>
                                    </p:animEffect>
                                  </p:childTnLst>
                                </p:cTn>
                              </p:par>
                              <p:par>
                                <p:cTn id="67" presetID="10" presetClass="entr" presetSubtype="0" fill="hold" grpId="0" nodeType="withEffect">
                                  <p:stCondLst>
                                    <p:cond delay="1500"/>
                                  </p:stCondLst>
                                  <p:childTnLst>
                                    <p:set>
                                      <p:cBhvr>
                                        <p:cTn id="68" dur="1" fill="hold">
                                          <p:stCondLst>
                                            <p:cond delay="0"/>
                                          </p:stCondLst>
                                        </p:cTn>
                                        <p:tgtEl>
                                          <p:spTgt spid="32"/>
                                        </p:tgtEl>
                                        <p:attrNameLst>
                                          <p:attrName>style.visibility</p:attrName>
                                        </p:attrNameLst>
                                      </p:cBhvr>
                                      <p:to>
                                        <p:strVal val="visible"/>
                                      </p:to>
                                    </p:set>
                                    <p:animEffect transition="in" filter="fade">
                                      <p:cBhvr>
                                        <p:cTn id="69" dur="500"/>
                                        <p:tgtEl>
                                          <p:spTgt spid="32"/>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42"/>
                                        </p:tgtEl>
                                        <p:attrNameLst>
                                          <p:attrName>style.visibility</p:attrName>
                                        </p:attrNameLst>
                                      </p:cBhvr>
                                      <p:to>
                                        <p:strVal val="visible"/>
                                      </p:to>
                                    </p:set>
                                    <p:animEffect transition="in" filter="fade">
                                      <p:cBhvr>
                                        <p:cTn id="74" dur="500"/>
                                        <p:tgtEl>
                                          <p:spTgt spid="42"/>
                                        </p:tgtEl>
                                      </p:cBhvr>
                                    </p:animEffect>
                                  </p:childTnLst>
                                </p:cTn>
                              </p:par>
                              <p:par>
                                <p:cTn id="75" presetID="10" presetClass="entr" presetSubtype="0" fill="hold" grpId="0" nodeType="withEffect">
                                  <p:stCondLst>
                                    <p:cond delay="50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850"/>
                                        <p:tgtEl>
                                          <p:spTgt spid="12"/>
                                        </p:tgtEl>
                                      </p:cBhvr>
                                    </p:animEffect>
                                  </p:childTnLst>
                                </p:cTn>
                              </p:par>
                              <p:par>
                                <p:cTn id="78" presetID="42" presetClass="path" presetSubtype="0" decel="100000" fill="hold" grpId="1" nodeType="withEffect">
                                  <p:stCondLst>
                                    <p:cond delay="500"/>
                                  </p:stCondLst>
                                  <p:childTnLst>
                                    <p:animMotion origin="layout" path="M 4.375E-6 2.22222E-6 L 4.375E-6 0.10833 " pathEditMode="relative" rAng="0" ptsTypes="AA">
                                      <p:cBhvr>
                                        <p:cTn id="79" dur="850" spd="-100000" fill="hold"/>
                                        <p:tgtEl>
                                          <p:spTgt spid="12"/>
                                        </p:tgtEl>
                                        <p:attrNameLst>
                                          <p:attrName>ppt_x</p:attrName>
                                          <p:attrName>ppt_y</p:attrName>
                                        </p:attrNameLst>
                                      </p:cBhvr>
                                      <p:rCtr x="0" y="5417"/>
                                    </p:animMotion>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childTnLst>
                                </p:cTn>
                              </p:par>
                              <p:par>
                                <p:cTn id="85" presetID="10" presetClass="entr" presetSubtype="0" fill="hold" nodeType="withEffect">
                                  <p:stCondLst>
                                    <p:cond delay="0"/>
                                  </p:stCondLst>
                                  <p:childTnLst>
                                    <p:set>
                                      <p:cBhvr>
                                        <p:cTn id="86" dur="1" fill="hold">
                                          <p:stCondLst>
                                            <p:cond delay="0"/>
                                          </p:stCondLst>
                                        </p:cTn>
                                        <p:tgtEl>
                                          <p:spTgt spid="24"/>
                                        </p:tgtEl>
                                        <p:attrNameLst>
                                          <p:attrName>style.visibility</p:attrName>
                                        </p:attrNameLst>
                                      </p:cBhvr>
                                      <p:to>
                                        <p:strVal val="visible"/>
                                      </p:to>
                                    </p:set>
                                    <p:animEffect transition="in" filter="fade">
                                      <p:cBhvr>
                                        <p:cTn id="87" dur="500"/>
                                        <p:tgtEl>
                                          <p:spTgt spid="24"/>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14"/>
                                        </p:tgtEl>
                                        <p:attrNameLst>
                                          <p:attrName>style.visibility</p:attrName>
                                        </p:attrNameLst>
                                      </p:cBhvr>
                                      <p:to>
                                        <p:strVal val="visible"/>
                                      </p:to>
                                    </p:set>
                                    <p:animEffect transition="in" filter="fade">
                                      <p:cBhvr>
                                        <p:cTn id="90" dur="8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12" grpId="0"/>
      <p:bldP spid="12" grpId="1"/>
      <p:bldP spid="14" grpId="0" animBg="1"/>
      <p:bldP spid="33" grpId="0"/>
      <p:bldP spid="8" grpId="0"/>
      <p:bldP spid="8" grpId="1"/>
      <p:bldP spid="13" grpId="0" animBg="1"/>
      <p:bldP spid="39" grpId="0" animBg="1"/>
      <p:bldP spid="40" grpId="0" animBg="1"/>
      <p:bldP spid="9" grpId="0" animBg="1"/>
      <p:bldP spid="11" grpId="0"/>
      <p:bldP spid="11" grpId="1"/>
      <p:bldP spid="32" grpId="0"/>
      <p:bldP spid="41" grpId="0" animBg="1"/>
      <p:bldP spid="42" grpId="0" animBg="1"/>
      <p:bldP spid="46" grpId="0"/>
      <p:bldP spid="46" grpId="1"/>
      <p:bldP spid="61" grpId="0"/>
      <p:bldP spid="61"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SaaS has shaped markets</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2838" y="2454264"/>
            <a:ext cx="2362200" cy="2362200"/>
          </a:xfrm>
          <a:prstGeom prst="rect">
            <a:avLst/>
          </a:prstGeom>
        </p:spPr>
      </p:pic>
      <p:sp>
        <p:nvSpPr>
          <p:cNvPr id="4" name="TextBox 3"/>
          <p:cNvSpPr txBox="1"/>
          <p:nvPr/>
        </p:nvSpPr>
        <p:spPr>
          <a:xfrm>
            <a:off x="4814016" y="2863883"/>
            <a:ext cx="3030820" cy="1095808"/>
          </a:xfrm>
          <a:prstGeom prst="rect">
            <a:avLst/>
          </a:prstGeom>
          <a:noFill/>
        </p:spPr>
        <p:txBody>
          <a:bodyPr wrap="none" lIns="186521" tIns="149217" rIns="186521" bIns="149217" rtlCol="0">
            <a:noAutofit/>
          </a:bodyPr>
          <a:lstStyle/>
          <a:p>
            <a:pPr>
              <a:lnSpc>
                <a:spcPct val="90000"/>
              </a:lnSpc>
              <a:spcAft>
                <a:spcPts val="612"/>
              </a:spcAft>
            </a:pPr>
            <a:r>
              <a:rPr lang="en-US" sz="4000" b="1" dirty="0">
                <a:solidFill>
                  <a:srgbClr val="FFFFFF"/>
                </a:solidFill>
                <a:hlinkClick r:id="rId4" action="ppaction://hlinkfile"/>
              </a:rPr>
              <a:t>\\fileshare</a:t>
            </a:r>
            <a:r>
              <a:rPr lang="en-US" sz="4000" b="1" dirty="0">
                <a:solidFill>
                  <a:srgbClr val="FFFFFF"/>
                </a:solidFill>
              </a:rPr>
              <a:t> </a:t>
            </a:r>
          </a:p>
        </p:txBody>
      </p:sp>
      <p:sp>
        <p:nvSpPr>
          <p:cNvPr id="10" name="TextBox 9"/>
          <p:cNvSpPr txBox="1"/>
          <p:nvPr/>
        </p:nvSpPr>
        <p:spPr>
          <a:xfrm>
            <a:off x="9418637" y="2725243"/>
            <a:ext cx="914400" cy="914400"/>
          </a:xfrm>
          <a:prstGeom prst="rect">
            <a:avLst/>
          </a:prstGeom>
          <a:noFill/>
        </p:spPr>
        <p:txBody>
          <a:bodyPr wrap="none" lIns="182880" tIns="146304" rIns="182880" bIns="146304" rtlCol="0">
            <a:noAutofit/>
          </a:bodyPr>
          <a:lstStyle/>
          <a:p>
            <a:pPr>
              <a:lnSpc>
                <a:spcPct val="90000"/>
              </a:lnSpc>
              <a:spcAft>
                <a:spcPts val="600"/>
              </a:spcAft>
            </a:pPr>
            <a:r>
              <a:rPr lang="en-US" sz="5400" dirty="0" smtClean="0">
                <a:gradFill>
                  <a:gsLst>
                    <a:gs pos="2917">
                      <a:srgbClr val="FFFFFF"/>
                    </a:gs>
                    <a:gs pos="30000">
                      <a:srgbClr val="FFFFFF"/>
                    </a:gs>
                  </a:gsLst>
                  <a:lin ang="5400000" scaled="0"/>
                </a:gradFill>
              </a:rPr>
              <a:t>BI</a:t>
            </a:r>
            <a:endParaRPr lang="en-US" sz="2400" dirty="0" smtClean="0">
              <a:gradFill>
                <a:gsLst>
                  <a:gs pos="2917">
                    <a:srgbClr val="FFFFFF"/>
                  </a:gs>
                  <a:gs pos="30000">
                    <a:srgbClr val="FFFFFF"/>
                  </a:gs>
                </a:gsLst>
                <a:lin ang="5400000" scaled="0"/>
              </a:gradFill>
            </a:endParaRPr>
          </a:p>
        </p:txBody>
      </p:sp>
      <p:pic>
        <p:nvPicPr>
          <p:cNvPr id="12" name="Power BI"/>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2493" y="2863262"/>
            <a:ext cx="2854532" cy="726476"/>
          </a:xfrm>
          <a:prstGeom prst="rect">
            <a:avLst/>
          </a:prstGeom>
          <a:solidFill>
            <a:schemeClr val="bg2"/>
          </a:solidFill>
        </p:spPr>
      </p:pic>
      <p:grpSp>
        <p:nvGrpSpPr>
          <p:cNvPr id="13" name="Group 12"/>
          <p:cNvGrpSpPr>
            <a:grpSpLocks noChangeAspect="1"/>
          </p:cNvGrpSpPr>
          <p:nvPr/>
        </p:nvGrpSpPr>
        <p:grpSpPr bwMode="invGray">
          <a:xfrm>
            <a:off x="100522" y="2001500"/>
            <a:ext cx="4279001" cy="2995909"/>
            <a:chOff x="2865438" y="1150938"/>
            <a:chExt cx="6702425" cy="4692650"/>
          </a:xfrm>
        </p:grpSpPr>
        <p:sp>
          <p:nvSpPr>
            <p:cNvPr id="14" name="Freeform 13"/>
            <p:cNvSpPr>
              <a:spLocks/>
            </p:cNvSpPr>
            <p:nvPr/>
          </p:nvSpPr>
          <p:spPr bwMode="invGray">
            <a:xfrm>
              <a:off x="2865438" y="1150938"/>
              <a:ext cx="6702425" cy="4692650"/>
            </a:xfrm>
            <a:custGeom>
              <a:avLst/>
              <a:gdLst>
                <a:gd name="T0" fmla="*/ 742 w 1784"/>
                <a:gd name="T1" fmla="*/ 136 h 1248"/>
                <a:gd name="T2" fmla="*/ 968 w 1784"/>
                <a:gd name="T3" fmla="*/ 39 h 1248"/>
                <a:gd name="T4" fmla="*/ 1244 w 1784"/>
                <a:gd name="T5" fmla="*/ 202 h 1248"/>
                <a:gd name="T6" fmla="*/ 1399 w 1784"/>
                <a:gd name="T7" fmla="*/ 169 h 1248"/>
                <a:gd name="T8" fmla="*/ 1784 w 1784"/>
                <a:gd name="T9" fmla="*/ 557 h 1248"/>
                <a:gd name="T10" fmla="*/ 1399 w 1784"/>
                <a:gd name="T11" fmla="*/ 944 h 1248"/>
                <a:gd name="T12" fmla="*/ 1323 w 1784"/>
                <a:gd name="T13" fmla="*/ 937 h 1248"/>
                <a:gd name="T14" fmla="*/ 1078 w 1784"/>
                <a:gd name="T15" fmla="*/ 1081 h 1248"/>
                <a:gd name="T16" fmla="*/ 955 w 1784"/>
                <a:gd name="T17" fmla="*/ 1053 h 1248"/>
                <a:gd name="T18" fmla="*/ 660 w 1784"/>
                <a:gd name="T19" fmla="*/ 1248 h 1248"/>
                <a:gd name="T20" fmla="*/ 359 w 1784"/>
                <a:gd name="T21" fmla="*/ 1038 h 1248"/>
                <a:gd name="T22" fmla="*/ 298 w 1784"/>
                <a:gd name="T23" fmla="*/ 1044 h 1248"/>
                <a:gd name="T24" fmla="*/ 0 w 1784"/>
                <a:gd name="T25" fmla="*/ 744 h 1248"/>
                <a:gd name="T26" fmla="*/ 149 w 1784"/>
                <a:gd name="T27" fmla="*/ 483 h 1248"/>
                <a:gd name="T28" fmla="*/ 120 w 1784"/>
                <a:gd name="T29" fmla="*/ 345 h 1248"/>
                <a:gd name="T30" fmla="*/ 467 w 1784"/>
                <a:gd name="T31" fmla="*/ 0 h 1248"/>
                <a:gd name="T32" fmla="*/ 742 w 1784"/>
                <a:gd name="T33" fmla="*/ 136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4" h="1248">
                  <a:moveTo>
                    <a:pt x="742" y="136"/>
                  </a:moveTo>
                  <a:cubicBezTo>
                    <a:pt x="800" y="76"/>
                    <a:pt x="880" y="39"/>
                    <a:pt x="968" y="39"/>
                  </a:cubicBezTo>
                  <a:cubicBezTo>
                    <a:pt x="1086" y="39"/>
                    <a:pt x="1189" y="104"/>
                    <a:pt x="1244" y="202"/>
                  </a:cubicBezTo>
                  <a:cubicBezTo>
                    <a:pt x="1291" y="180"/>
                    <a:pt x="1344" y="169"/>
                    <a:pt x="1399" y="169"/>
                  </a:cubicBezTo>
                  <a:cubicBezTo>
                    <a:pt x="1611" y="169"/>
                    <a:pt x="1784" y="342"/>
                    <a:pt x="1784" y="557"/>
                  </a:cubicBezTo>
                  <a:cubicBezTo>
                    <a:pt x="1784" y="771"/>
                    <a:pt x="1611" y="944"/>
                    <a:pt x="1399" y="944"/>
                  </a:cubicBezTo>
                  <a:cubicBezTo>
                    <a:pt x="1373" y="944"/>
                    <a:pt x="1348" y="942"/>
                    <a:pt x="1323" y="937"/>
                  </a:cubicBezTo>
                  <a:cubicBezTo>
                    <a:pt x="1275" y="1023"/>
                    <a:pt x="1183" y="1081"/>
                    <a:pt x="1078" y="1081"/>
                  </a:cubicBezTo>
                  <a:cubicBezTo>
                    <a:pt x="1034" y="1081"/>
                    <a:pt x="992" y="1071"/>
                    <a:pt x="955" y="1053"/>
                  </a:cubicBezTo>
                  <a:cubicBezTo>
                    <a:pt x="906" y="1167"/>
                    <a:pt x="792" y="1248"/>
                    <a:pt x="660" y="1248"/>
                  </a:cubicBezTo>
                  <a:cubicBezTo>
                    <a:pt x="522" y="1248"/>
                    <a:pt x="404" y="1161"/>
                    <a:pt x="359" y="1038"/>
                  </a:cubicBezTo>
                  <a:cubicBezTo>
                    <a:pt x="339" y="1042"/>
                    <a:pt x="319" y="1044"/>
                    <a:pt x="298" y="1044"/>
                  </a:cubicBezTo>
                  <a:cubicBezTo>
                    <a:pt x="133" y="1044"/>
                    <a:pt x="0" y="910"/>
                    <a:pt x="0" y="744"/>
                  </a:cubicBezTo>
                  <a:cubicBezTo>
                    <a:pt x="0" y="632"/>
                    <a:pt x="60" y="535"/>
                    <a:pt x="149" y="483"/>
                  </a:cubicBezTo>
                  <a:cubicBezTo>
                    <a:pt x="131" y="441"/>
                    <a:pt x="120" y="394"/>
                    <a:pt x="120" y="345"/>
                  </a:cubicBezTo>
                  <a:cubicBezTo>
                    <a:pt x="120" y="154"/>
                    <a:pt x="275" y="0"/>
                    <a:pt x="467" y="0"/>
                  </a:cubicBezTo>
                  <a:cubicBezTo>
                    <a:pt x="579" y="0"/>
                    <a:pt x="679" y="53"/>
                    <a:pt x="742" y="136"/>
                  </a:cubicBezTo>
                </a:path>
              </a:pathLst>
            </a:custGeom>
            <a:solidFill>
              <a:srgbClr val="139CD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14"/>
            <p:cNvSpPr>
              <a:spLocks noEditPoints="1"/>
            </p:cNvSpPr>
            <p:nvPr/>
          </p:nvSpPr>
          <p:spPr bwMode="invGray">
            <a:xfrm>
              <a:off x="3830638" y="2786063"/>
              <a:ext cx="5060950" cy="1147763"/>
            </a:xfrm>
            <a:custGeom>
              <a:avLst/>
              <a:gdLst>
                <a:gd name="T0" fmla="*/ 92 w 1347"/>
                <a:gd name="T1" fmla="*/ 188 h 305"/>
                <a:gd name="T2" fmla="*/ 6 w 1347"/>
                <a:gd name="T3" fmla="*/ 116 h 305"/>
                <a:gd name="T4" fmla="*/ 113 w 1347"/>
                <a:gd name="T5" fmla="*/ 105 h 305"/>
                <a:gd name="T6" fmla="*/ 72 w 1347"/>
                <a:gd name="T7" fmla="*/ 135 h 305"/>
                <a:gd name="T8" fmla="*/ 12 w 1347"/>
                <a:gd name="T9" fmla="*/ 222 h 305"/>
                <a:gd name="T10" fmla="*/ 538 w 1347"/>
                <a:gd name="T11" fmla="*/ 216 h 305"/>
                <a:gd name="T12" fmla="*/ 611 w 1347"/>
                <a:gd name="T13" fmla="*/ 136 h 305"/>
                <a:gd name="T14" fmla="*/ 644 w 1347"/>
                <a:gd name="T15" fmla="*/ 106 h 305"/>
                <a:gd name="T16" fmla="*/ 598 w 1347"/>
                <a:gd name="T17" fmla="*/ 66 h 305"/>
                <a:gd name="T18" fmla="*/ 628 w 1347"/>
                <a:gd name="T19" fmla="*/ 187 h 305"/>
                <a:gd name="T20" fmla="*/ 544 w 1347"/>
                <a:gd name="T21" fmla="*/ 192 h 305"/>
                <a:gd name="T22" fmla="*/ 919 w 1347"/>
                <a:gd name="T23" fmla="*/ 210 h 305"/>
                <a:gd name="T24" fmla="*/ 793 w 1347"/>
                <a:gd name="T25" fmla="*/ 183 h 305"/>
                <a:gd name="T26" fmla="*/ 863 w 1347"/>
                <a:gd name="T27" fmla="*/ 67 h 305"/>
                <a:gd name="T28" fmla="*/ 893 w 1347"/>
                <a:gd name="T29" fmla="*/ 109 h 305"/>
                <a:gd name="T30" fmla="*/ 863 w 1347"/>
                <a:gd name="T31" fmla="*/ 207 h 305"/>
                <a:gd name="T32" fmla="*/ 1166 w 1347"/>
                <a:gd name="T33" fmla="*/ 204 h 305"/>
                <a:gd name="T34" fmla="*/ 1147 w 1347"/>
                <a:gd name="T35" fmla="*/ 95 h 305"/>
                <a:gd name="T36" fmla="*/ 1168 w 1347"/>
                <a:gd name="T37" fmla="*/ 68 h 305"/>
                <a:gd name="T38" fmla="*/ 1066 w 1347"/>
                <a:gd name="T39" fmla="*/ 150 h 305"/>
                <a:gd name="T40" fmla="*/ 1184 w 1347"/>
                <a:gd name="T41" fmla="*/ 202 h 305"/>
                <a:gd name="T42" fmla="*/ 1249 w 1347"/>
                <a:gd name="T43" fmla="*/ 194 h 305"/>
                <a:gd name="T44" fmla="*/ 1337 w 1347"/>
                <a:gd name="T45" fmla="*/ 224 h 305"/>
                <a:gd name="T46" fmla="*/ 1201 w 1347"/>
                <a:gd name="T47" fmla="*/ 151 h 305"/>
                <a:gd name="T48" fmla="*/ 1307 w 1347"/>
                <a:gd name="T49" fmla="*/ 73 h 305"/>
                <a:gd name="T50" fmla="*/ 1275 w 1347"/>
                <a:gd name="T51" fmla="*/ 94 h 305"/>
                <a:gd name="T52" fmla="*/ 515 w 1347"/>
                <a:gd name="T53" fmla="*/ 157 h 305"/>
                <a:gd name="T54" fmla="*/ 499 w 1347"/>
                <a:gd name="T55" fmla="*/ 198 h 305"/>
                <a:gd name="T56" fmla="*/ 419 w 1347"/>
                <a:gd name="T57" fmla="*/ 228 h 305"/>
                <a:gd name="T58" fmla="*/ 392 w 1347"/>
                <a:gd name="T59" fmla="*/ 92 h 305"/>
                <a:gd name="T60" fmla="*/ 512 w 1347"/>
                <a:gd name="T61" fmla="*/ 112 h 305"/>
                <a:gd name="T62" fmla="*/ 409 w 1347"/>
                <a:gd name="T63" fmla="*/ 134 h 305"/>
                <a:gd name="T64" fmla="*/ 236 w 1347"/>
                <a:gd name="T65" fmla="*/ 102 h 305"/>
                <a:gd name="T66" fmla="*/ 153 w 1347"/>
                <a:gd name="T67" fmla="*/ 85 h 305"/>
                <a:gd name="T68" fmla="*/ 277 w 1347"/>
                <a:gd name="T69" fmla="*/ 127 h 305"/>
                <a:gd name="T70" fmla="*/ 210 w 1347"/>
                <a:gd name="T71" fmla="*/ 234 h 305"/>
                <a:gd name="T72" fmla="*/ 149 w 1347"/>
                <a:gd name="T73" fmla="*/ 159 h 305"/>
                <a:gd name="T74" fmla="*/ 186 w 1347"/>
                <a:gd name="T75" fmla="*/ 201 h 305"/>
                <a:gd name="T76" fmla="*/ 186 w 1347"/>
                <a:gd name="T77" fmla="*/ 162 h 305"/>
                <a:gd name="T78" fmla="*/ 1059 w 1347"/>
                <a:gd name="T79" fmla="*/ 72 h 305"/>
                <a:gd name="T80" fmla="*/ 995 w 1347"/>
                <a:gd name="T81" fmla="*/ 70 h 305"/>
                <a:gd name="T82" fmla="*/ 996 w 1347"/>
                <a:gd name="T83" fmla="*/ 231 h 305"/>
                <a:gd name="T84" fmla="*/ 1024 w 1347"/>
                <a:gd name="T85" fmla="*/ 100 h 305"/>
                <a:gd name="T86" fmla="*/ 806 w 1347"/>
                <a:gd name="T87" fmla="*/ 4 h 305"/>
                <a:gd name="T88" fmla="*/ 716 w 1347"/>
                <a:gd name="T89" fmla="*/ 70 h 305"/>
                <a:gd name="T90" fmla="*/ 711 w 1347"/>
                <a:gd name="T91" fmla="*/ 98 h 305"/>
                <a:gd name="T92" fmla="*/ 653 w 1347"/>
                <a:gd name="T93" fmla="*/ 276 h 305"/>
                <a:gd name="T94" fmla="*/ 629 w 1347"/>
                <a:gd name="T95" fmla="*/ 301 h 305"/>
                <a:gd name="T96" fmla="*/ 712 w 1347"/>
                <a:gd name="T97" fmla="*/ 264 h 305"/>
                <a:gd name="T98" fmla="*/ 786 w 1347"/>
                <a:gd name="T99" fmla="*/ 73 h 305"/>
                <a:gd name="T100" fmla="*/ 771 w 1347"/>
                <a:gd name="T101" fmla="*/ 30 h 305"/>
                <a:gd name="T102" fmla="*/ 808 w 1347"/>
                <a:gd name="T103" fmla="*/ 8 h 305"/>
                <a:gd name="T104" fmla="*/ 311 w 1347"/>
                <a:gd name="T105" fmla="*/ 7 h 305"/>
                <a:gd name="T106" fmla="*/ 344 w 1347"/>
                <a:gd name="T107" fmla="*/ 7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47" h="305">
                  <a:moveTo>
                    <a:pt x="9" y="192"/>
                  </a:moveTo>
                  <a:cubicBezTo>
                    <a:pt x="10" y="188"/>
                    <a:pt x="12" y="190"/>
                    <a:pt x="13" y="190"/>
                  </a:cubicBezTo>
                  <a:cubicBezTo>
                    <a:pt x="15" y="191"/>
                    <a:pt x="17" y="193"/>
                    <a:pt x="19" y="194"/>
                  </a:cubicBezTo>
                  <a:cubicBezTo>
                    <a:pt x="41" y="208"/>
                    <a:pt x="60" y="208"/>
                    <a:pt x="67" y="208"/>
                  </a:cubicBezTo>
                  <a:cubicBezTo>
                    <a:pt x="82" y="208"/>
                    <a:pt x="92" y="199"/>
                    <a:pt x="92" y="188"/>
                  </a:cubicBezTo>
                  <a:cubicBezTo>
                    <a:pt x="92" y="187"/>
                    <a:pt x="92" y="187"/>
                    <a:pt x="92" y="187"/>
                  </a:cubicBezTo>
                  <a:cubicBezTo>
                    <a:pt x="92" y="175"/>
                    <a:pt x="77" y="170"/>
                    <a:pt x="60" y="165"/>
                  </a:cubicBezTo>
                  <a:cubicBezTo>
                    <a:pt x="56" y="164"/>
                    <a:pt x="56" y="164"/>
                    <a:pt x="56" y="164"/>
                  </a:cubicBezTo>
                  <a:cubicBezTo>
                    <a:pt x="31" y="157"/>
                    <a:pt x="6" y="147"/>
                    <a:pt x="6" y="116"/>
                  </a:cubicBezTo>
                  <a:cubicBezTo>
                    <a:pt x="6" y="116"/>
                    <a:pt x="6" y="116"/>
                    <a:pt x="6" y="116"/>
                  </a:cubicBezTo>
                  <a:cubicBezTo>
                    <a:pt x="6" y="87"/>
                    <a:pt x="29" y="66"/>
                    <a:pt x="63" y="66"/>
                  </a:cubicBezTo>
                  <a:cubicBezTo>
                    <a:pt x="66" y="66"/>
                    <a:pt x="66" y="66"/>
                    <a:pt x="66" y="66"/>
                  </a:cubicBezTo>
                  <a:cubicBezTo>
                    <a:pt x="86" y="66"/>
                    <a:pt x="105" y="72"/>
                    <a:pt x="119" y="80"/>
                  </a:cubicBezTo>
                  <a:cubicBezTo>
                    <a:pt x="120" y="81"/>
                    <a:pt x="121" y="83"/>
                    <a:pt x="120" y="85"/>
                  </a:cubicBezTo>
                  <a:cubicBezTo>
                    <a:pt x="120" y="86"/>
                    <a:pt x="114" y="103"/>
                    <a:pt x="113" y="105"/>
                  </a:cubicBezTo>
                  <a:cubicBezTo>
                    <a:pt x="112" y="108"/>
                    <a:pt x="108" y="106"/>
                    <a:pt x="108" y="106"/>
                  </a:cubicBezTo>
                  <a:cubicBezTo>
                    <a:pt x="96" y="99"/>
                    <a:pt x="77" y="94"/>
                    <a:pt x="62" y="94"/>
                  </a:cubicBezTo>
                  <a:cubicBezTo>
                    <a:pt x="47" y="94"/>
                    <a:pt x="38" y="101"/>
                    <a:pt x="38" y="112"/>
                  </a:cubicBezTo>
                  <a:cubicBezTo>
                    <a:pt x="38" y="112"/>
                    <a:pt x="38" y="112"/>
                    <a:pt x="38" y="112"/>
                  </a:cubicBezTo>
                  <a:cubicBezTo>
                    <a:pt x="38" y="124"/>
                    <a:pt x="54" y="129"/>
                    <a:pt x="72" y="135"/>
                  </a:cubicBezTo>
                  <a:cubicBezTo>
                    <a:pt x="75" y="136"/>
                    <a:pt x="75" y="136"/>
                    <a:pt x="75" y="136"/>
                  </a:cubicBezTo>
                  <a:cubicBezTo>
                    <a:pt x="99" y="144"/>
                    <a:pt x="125" y="154"/>
                    <a:pt x="125" y="183"/>
                  </a:cubicBezTo>
                  <a:cubicBezTo>
                    <a:pt x="125" y="184"/>
                    <a:pt x="125" y="184"/>
                    <a:pt x="125" y="184"/>
                  </a:cubicBezTo>
                  <a:cubicBezTo>
                    <a:pt x="125" y="215"/>
                    <a:pt x="102" y="235"/>
                    <a:pt x="66" y="235"/>
                  </a:cubicBezTo>
                  <a:cubicBezTo>
                    <a:pt x="48" y="235"/>
                    <a:pt x="30" y="232"/>
                    <a:pt x="12" y="222"/>
                  </a:cubicBezTo>
                  <a:cubicBezTo>
                    <a:pt x="9" y="220"/>
                    <a:pt x="5" y="218"/>
                    <a:pt x="2" y="216"/>
                  </a:cubicBezTo>
                  <a:cubicBezTo>
                    <a:pt x="2" y="215"/>
                    <a:pt x="0" y="215"/>
                    <a:pt x="1" y="212"/>
                  </a:cubicBezTo>
                  <a:lnTo>
                    <a:pt x="9" y="192"/>
                  </a:lnTo>
                  <a:close/>
                  <a:moveTo>
                    <a:pt x="537" y="212"/>
                  </a:moveTo>
                  <a:cubicBezTo>
                    <a:pt x="536" y="215"/>
                    <a:pt x="537" y="215"/>
                    <a:pt x="538" y="216"/>
                  </a:cubicBezTo>
                  <a:cubicBezTo>
                    <a:pt x="541" y="218"/>
                    <a:pt x="544" y="220"/>
                    <a:pt x="548" y="222"/>
                  </a:cubicBezTo>
                  <a:cubicBezTo>
                    <a:pt x="566" y="232"/>
                    <a:pt x="583" y="235"/>
                    <a:pt x="601" y="235"/>
                  </a:cubicBezTo>
                  <a:cubicBezTo>
                    <a:pt x="638" y="235"/>
                    <a:pt x="661" y="215"/>
                    <a:pt x="661" y="184"/>
                  </a:cubicBezTo>
                  <a:cubicBezTo>
                    <a:pt x="661" y="183"/>
                    <a:pt x="661" y="183"/>
                    <a:pt x="661" y="183"/>
                  </a:cubicBezTo>
                  <a:cubicBezTo>
                    <a:pt x="661" y="154"/>
                    <a:pt x="635" y="144"/>
                    <a:pt x="611" y="136"/>
                  </a:cubicBezTo>
                  <a:cubicBezTo>
                    <a:pt x="608" y="135"/>
                    <a:pt x="608" y="135"/>
                    <a:pt x="608" y="135"/>
                  </a:cubicBezTo>
                  <a:cubicBezTo>
                    <a:pt x="590" y="129"/>
                    <a:pt x="574" y="124"/>
                    <a:pt x="574" y="112"/>
                  </a:cubicBezTo>
                  <a:cubicBezTo>
                    <a:pt x="574" y="112"/>
                    <a:pt x="574" y="112"/>
                    <a:pt x="574" y="112"/>
                  </a:cubicBezTo>
                  <a:cubicBezTo>
                    <a:pt x="574" y="101"/>
                    <a:pt x="583" y="94"/>
                    <a:pt x="597" y="94"/>
                  </a:cubicBezTo>
                  <a:cubicBezTo>
                    <a:pt x="613" y="94"/>
                    <a:pt x="632" y="99"/>
                    <a:pt x="644" y="106"/>
                  </a:cubicBezTo>
                  <a:cubicBezTo>
                    <a:pt x="644" y="106"/>
                    <a:pt x="647" y="108"/>
                    <a:pt x="649" y="105"/>
                  </a:cubicBezTo>
                  <a:cubicBezTo>
                    <a:pt x="649" y="103"/>
                    <a:pt x="655" y="86"/>
                    <a:pt x="656" y="85"/>
                  </a:cubicBezTo>
                  <a:cubicBezTo>
                    <a:pt x="657" y="83"/>
                    <a:pt x="656" y="81"/>
                    <a:pt x="654" y="80"/>
                  </a:cubicBezTo>
                  <a:cubicBezTo>
                    <a:pt x="640" y="72"/>
                    <a:pt x="622" y="66"/>
                    <a:pt x="602" y="66"/>
                  </a:cubicBezTo>
                  <a:cubicBezTo>
                    <a:pt x="598" y="66"/>
                    <a:pt x="598" y="66"/>
                    <a:pt x="598" y="66"/>
                  </a:cubicBezTo>
                  <a:cubicBezTo>
                    <a:pt x="565" y="66"/>
                    <a:pt x="541" y="87"/>
                    <a:pt x="541" y="116"/>
                  </a:cubicBezTo>
                  <a:cubicBezTo>
                    <a:pt x="541" y="116"/>
                    <a:pt x="541" y="116"/>
                    <a:pt x="541" y="116"/>
                  </a:cubicBezTo>
                  <a:cubicBezTo>
                    <a:pt x="541" y="147"/>
                    <a:pt x="567" y="157"/>
                    <a:pt x="591" y="164"/>
                  </a:cubicBezTo>
                  <a:cubicBezTo>
                    <a:pt x="595" y="165"/>
                    <a:pt x="595" y="165"/>
                    <a:pt x="595" y="165"/>
                  </a:cubicBezTo>
                  <a:cubicBezTo>
                    <a:pt x="613" y="170"/>
                    <a:pt x="628" y="175"/>
                    <a:pt x="628" y="187"/>
                  </a:cubicBezTo>
                  <a:cubicBezTo>
                    <a:pt x="628" y="188"/>
                    <a:pt x="628" y="188"/>
                    <a:pt x="628" y="188"/>
                  </a:cubicBezTo>
                  <a:cubicBezTo>
                    <a:pt x="628" y="199"/>
                    <a:pt x="618" y="208"/>
                    <a:pt x="602" y="208"/>
                  </a:cubicBezTo>
                  <a:cubicBezTo>
                    <a:pt x="596" y="208"/>
                    <a:pt x="576" y="208"/>
                    <a:pt x="555" y="194"/>
                  </a:cubicBezTo>
                  <a:cubicBezTo>
                    <a:pt x="552" y="193"/>
                    <a:pt x="551" y="192"/>
                    <a:pt x="549" y="190"/>
                  </a:cubicBezTo>
                  <a:cubicBezTo>
                    <a:pt x="548" y="190"/>
                    <a:pt x="545" y="189"/>
                    <a:pt x="544" y="192"/>
                  </a:cubicBezTo>
                  <a:lnTo>
                    <a:pt x="537" y="212"/>
                  </a:lnTo>
                  <a:close/>
                  <a:moveTo>
                    <a:pt x="933" y="118"/>
                  </a:moveTo>
                  <a:cubicBezTo>
                    <a:pt x="936" y="128"/>
                    <a:pt x="938" y="139"/>
                    <a:pt x="938" y="151"/>
                  </a:cubicBezTo>
                  <a:cubicBezTo>
                    <a:pt x="938" y="162"/>
                    <a:pt x="936" y="173"/>
                    <a:pt x="933" y="183"/>
                  </a:cubicBezTo>
                  <a:cubicBezTo>
                    <a:pt x="930" y="194"/>
                    <a:pt x="925" y="202"/>
                    <a:pt x="919" y="210"/>
                  </a:cubicBezTo>
                  <a:cubicBezTo>
                    <a:pt x="913" y="217"/>
                    <a:pt x="905" y="223"/>
                    <a:pt x="896" y="228"/>
                  </a:cubicBezTo>
                  <a:cubicBezTo>
                    <a:pt x="886" y="232"/>
                    <a:pt x="875" y="234"/>
                    <a:pt x="863" y="234"/>
                  </a:cubicBezTo>
                  <a:cubicBezTo>
                    <a:pt x="851" y="234"/>
                    <a:pt x="840" y="232"/>
                    <a:pt x="830" y="228"/>
                  </a:cubicBezTo>
                  <a:cubicBezTo>
                    <a:pt x="821" y="223"/>
                    <a:pt x="813" y="217"/>
                    <a:pt x="807" y="210"/>
                  </a:cubicBezTo>
                  <a:cubicBezTo>
                    <a:pt x="801" y="202"/>
                    <a:pt x="796" y="194"/>
                    <a:pt x="793" y="183"/>
                  </a:cubicBezTo>
                  <a:cubicBezTo>
                    <a:pt x="790" y="173"/>
                    <a:pt x="788" y="162"/>
                    <a:pt x="788" y="151"/>
                  </a:cubicBezTo>
                  <a:cubicBezTo>
                    <a:pt x="788" y="139"/>
                    <a:pt x="790" y="128"/>
                    <a:pt x="793" y="118"/>
                  </a:cubicBezTo>
                  <a:cubicBezTo>
                    <a:pt x="796" y="108"/>
                    <a:pt x="801" y="99"/>
                    <a:pt x="807" y="91"/>
                  </a:cubicBezTo>
                  <a:cubicBezTo>
                    <a:pt x="813" y="84"/>
                    <a:pt x="821" y="78"/>
                    <a:pt x="830" y="73"/>
                  </a:cubicBezTo>
                  <a:cubicBezTo>
                    <a:pt x="840" y="69"/>
                    <a:pt x="851" y="67"/>
                    <a:pt x="863" y="67"/>
                  </a:cubicBezTo>
                  <a:cubicBezTo>
                    <a:pt x="875" y="67"/>
                    <a:pt x="886" y="69"/>
                    <a:pt x="896" y="73"/>
                  </a:cubicBezTo>
                  <a:cubicBezTo>
                    <a:pt x="905" y="78"/>
                    <a:pt x="913" y="84"/>
                    <a:pt x="919" y="91"/>
                  </a:cubicBezTo>
                  <a:cubicBezTo>
                    <a:pt x="925" y="99"/>
                    <a:pt x="930" y="108"/>
                    <a:pt x="933" y="118"/>
                  </a:cubicBezTo>
                  <a:moveTo>
                    <a:pt x="903" y="151"/>
                  </a:moveTo>
                  <a:cubicBezTo>
                    <a:pt x="903" y="133"/>
                    <a:pt x="899" y="119"/>
                    <a:pt x="893" y="109"/>
                  </a:cubicBezTo>
                  <a:cubicBezTo>
                    <a:pt x="886" y="100"/>
                    <a:pt x="877" y="95"/>
                    <a:pt x="863" y="95"/>
                  </a:cubicBezTo>
                  <a:cubicBezTo>
                    <a:pt x="850" y="95"/>
                    <a:pt x="840" y="100"/>
                    <a:pt x="833" y="109"/>
                  </a:cubicBezTo>
                  <a:cubicBezTo>
                    <a:pt x="827" y="119"/>
                    <a:pt x="824" y="133"/>
                    <a:pt x="824" y="151"/>
                  </a:cubicBezTo>
                  <a:cubicBezTo>
                    <a:pt x="824" y="168"/>
                    <a:pt x="827" y="182"/>
                    <a:pt x="834" y="192"/>
                  </a:cubicBezTo>
                  <a:cubicBezTo>
                    <a:pt x="840" y="202"/>
                    <a:pt x="850" y="207"/>
                    <a:pt x="863" y="207"/>
                  </a:cubicBezTo>
                  <a:cubicBezTo>
                    <a:pt x="877" y="207"/>
                    <a:pt x="886" y="202"/>
                    <a:pt x="893" y="192"/>
                  </a:cubicBezTo>
                  <a:cubicBezTo>
                    <a:pt x="899" y="182"/>
                    <a:pt x="903" y="168"/>
                    <a:pt x="903" y="151"/>
                  </a:cubicBezTo>
                  <a:moveTo>
                    <a:pt x="1184" y="202"/>
                  </a:moveTo>
                  <a:cubicBezTo>
                    <a:pt x="1183" y="199"/>
                    <a:pt x="1180" y="200"/>
                    <a:pt x="1180" y="200"/>
                  </a:cubicBezTo>
                  <a:cubicBezTo>
                    <a:pt x="1176" y="202"/>
                    <a:pt x="1171" y="203"/>
                    <a:pt x="1166" y="204"/>
                  </a:cubicBezTo>
                  <a:cubicBezTo>
                    <a:pt x="1161" y="205"/>
                    <a:pt x="1155" y="205"/>
                    <a:pt x="1149" y="205"/>
                  </a:cubicBezTo>
                  <a:cubicBezTo>
                    <a:pt x="1134" y="205"/>
                    <a:pt x="1123" y="201"/>
                    <a:pt x="1114" y="192"/>
                  </a:cubicBezTo>
                  <a:cubicBezTo>
                    <a:pt x="1106" y="183"/>
                    <a:pt x="1101" y="169"/>
                    <a:pt x="1101" y="150"/>
                  </a:cubicBezTo>
                  <a:cubicBezTo>
                    <a:pt x="1101" y="133"/>
                    <a:pt x="1105" y="120"/>
                    <a:pt x="1113" y="110"/>
                  </a:cubicBezTo>
                  <a:cubicBezTo>
                    <a:pt x="1120" y="100"/>
                    <a:pt x="1132" y="95"/>
                    <a:pt x="1147" y="95"/>
                  </a:cubicBezTo>
                  <a:cubicBezTo>
                    <a:pt x="1159" y="95"/>
                    <a:pt x="1169" y="97"/>
                    <a:pt x="1179" y="100"/>
                  </a:cubicBezTo>
                  <a:cubicBezTo>
                    <a:pt x="1179" y="100"/>
                    <a:pt x="1181" y="101"/>
                    <a:pt x="1183" y="98"/>
                  </a:cubicBezTo>
                  <a:cubicBezTo>
                    <a:pt x="1185" y="90"/>
                    <a:pt x="1187" y="85"/>
                    <a:pt x="1190" y="77"/>
                  </a:cubicBezTo>
                  <a:cubicBezTo>
                    <a:pt x="1191" y="75"/>
                    <a:pt x="1189" y="74"/>
                    <a:pt x="1188" y="73"/>
                  </a:cubicBezTo>
                  <a:cubicBezTo>
                    <a:pt x="1184" y="72"/>
                    <a:pt x="1175" y="69"/>
                    <a:pt x="1168" y="68"/>
                  </a:cubicBezTo>
                  <a:cubicBezTo>
                    <a:pt x="1161" y="67"/>
                    <a:pt x="1153" y="67"/>
                    <a:pt x="1145" y="67"/>
                  </a:cubicBezTo>
                  <a:cubicBezTo>
                    <a:pt x="1132" y="67"/>
                    <a:pt x="1121" y="69"/>
                    <a:pt x="1111" y="73"/>
                  </a:cubicBezTo>
                  <a:cubicBezTo>
                    <a:pt x="1101" y="78"/>
                    <a:pt x="1093" y="84"/>
                    <a:pt x="1086" y="91"/>
                  </a:cubicBezTo>
                  <a:cubicBezTo>
                    <a:pt x="1080" y="99"/>
                    <a:pt x="1075" y="107"/>
                    <a:pt x="1071" y="118"/>
                  </a:cubicBezTo>
                  <a:cubicBezTo>
                    <a:pt x="1068" y="128"/>
                    <a:pt x="1066" y="139"/>
                    <a:pt x="1066" y="150"/>
                  </a:cubicBezTo>
                  <a:cubicBezTo>
                    <a:pt x="1066" y="176"/>
                    <a:pt x="1073" y="196"/>
                    <a:pt x="1087" y="211"/>
                  </a:cubicBezTo>
                  <a:cubicBezTo>
                    <a:pt x="1100" y="226"/>
                    <a:pt x="1121" y="234"/>
                    <a:pt x="1147" y="234"/>
                  </a:cubicBezTo>
                  <a:cubicBezTo>
                    <a:pt x="1163" y="234"/>
                    <a:pt x="1179" y="231"/>
                    <a:pt x="1190" y="226"/>
                  </a:cubicBezTo>
                  <a:cubicBezTo>
                    <a:pt x="1190" y="226"/>
                    <a:pt x="1192" y="225"/>
                    <a:pt x="1191" y="223"/>
                  </a:cubicBezTo>
                  <a:lnTo>
                    <a:pt x="1184" y="202"/>
                  </a:lnTo>
                  <a:close/>
                  <a:moveTo>
                    <a:pt x="1340" y="112"/>
                  </a:moveTo>
                  <a:cubicBezTo>
                    <a:pt x="1347" y="135"/>
                    <a:pt x="1343" y="155"/>
                    <a:pt x="1343" y="157"/>
                  </a:cubicBezTo>
                  <a:cubicBezTo>
                    <a:pt x="1343" y="159"/>
                    <a:pt x="1340" y="159"/>
                    <a:pt x="1340" y="159"/>
                  </a:cubicBezTo>
                  <a:cubicBezTo>
                    <a:pt x="1237" y="159"/>
                    <a:pt x="1237" y="159"/>
                    <a:pt x="1237" y="159"/>
                  </a:cubicBezTo>
                  <a:cubicBezTo>
                    <a:pt x="1238" y="175"/>
                    <a:pt x="1241" y="186"/>
                    <a:pt x="1249" y="194"/>
                  </a:cubicBezTo>
                  <a:cubicBezTo>
                    <a:pt x="1256" y="201"/>
                    <a:pt x="1268" y="206"/>
                    <a:pt x="1284" y="206"/>
                  </a:cubicBezTo>
                  <a:cubicBezTo>
                    <a:pt x="1309" y="206"/>
                    <a:pt x="1319" y="201"/>
                    <a:pt x="1327" y="198"/>
                  </a:cubicBezTo>
                  <a:cubicBezTo>
                    <a:pt x="1327" y="198"/>
                    <a:pt x="1330" y="197"/>
                    <a:pt x="1331" y="200"/>
                  </a:cubicBezTo>
                  <a:cubicBezTo>
                    <a:pt x="1337" y="219"/>
                    <a:pt x="1337" y="219"/>
                    <a:pt x="1337" y="219"/>
                  </a:cubicBezTo>
                  <a:cubicBezTo>
                    <a:pt x="1339" y="222"/>
                    <a:pt x="1338" y="223"/>
                    <a:pt x="1337" y="224"/>
                  </a:cubicBezTo>
                  <a:cubicBezTo>
                    <a:pt x="1330" y="227"/>
                    <a:pt x="1314" y="234"/>
                    <a:pt x="1284" y="234"/>
                  </a:cubicBezTo>
                  <a:cubicBezTo>
                    <a:pt x="1270" y="234"/>
                    <a:pt x="1257" y="232"/>
                    <a:pt x="1247" y="228"/>
                  </a:cubicBezTo>
                  <a:cubicBezTo>
                    <a:pt x="1236" y="224"/>
                    <a:pt x="1228" y="218"/>
                    <a:pt x="1221" y="211"/>
                  </a:cubicBezTo>
                  <a:cubicBezTo>
                    <a:pt x="1214" y="203"/>
                    <a:pt x="1209" y="195"/>
                    <a:pt x="1206" y="184"/>
                  </a:cubicBezTo>
                  <a:cubicBezTo>
                    <a:pt x="1203" y="175"/>
                    <a:pt x="1201" y="163"/>
                    <a:pt x="1201" y="151"/>
                  </a:cubicBezTo>
                  <a:cubicBezTo>
                    <a:pt x="1201" y="140"/>
                    <a:pt x="1203" y="129"/>
                    <a:pt x="1206" y="118"/>
                  </a:cubicBezTo>
                  <a:cubicBezTo>
                    <a:pt x="1209" y="108"/>
                    <a:pt x="1214" y="99"/>
                    <a:pt x="1220" y="92"/>
                  </a:cubicBezTo>
                  <a:cubicBezTo>
                    <a:pt x="1226" y="84"/>
                    <a:pt x="1234" y="78"/>
                    <a:pt x="1244" y="73"/>
                  </a:cubicBezTo>
                  <a:cubicBezTo>
                    <a:pt x="1253" y="69"/>
                    <a:pt x="1265" y="67"/>
                    <a:pt x="1278" y="67"/>
                  </a:cubicBezTo>
                  <a:cubicBezTo>
                    <a:pt x="1289" y="67"/>
                    <a:pt x="1299" y="69"/>
                    <a:pt x="1307" y="73"/>
                  </a:cubicBezTo>
                  <a:cubicBezTo>
                    <a:pt x="1314" y="76"/>
                    <a:pt x="1320" y="81"/>
                    <a:pt x="1327" y="88"/>
                  </a:cubicBezTo>
                  <a:cubicBezTo>
                    <a:pt x="1331" y="92"/>
                    <a:pt x="1338" y="102"/>
                    <a:pt x="1340" y="112"/>
                  </a:cubicBezTo>
                  <a:moveTo>
                    <a:pt x="1311" y="134"/>
                  </a:moveTo>
                  <a:cubicBezTo>
                    <a:pt x="1310" y="124"/>
                    <a:pt x="1309" y="116"/>
                    <a:pt x="1304" y="109"/>
                  </a:cubicBezTo>
                  <a:cubicBezTo>
                    <a:pt x="1298" y="100"/>
                    <a:pt x="1289" y="94"/>
                    <a:pt x="1275" y="94"/>
                  </a:cubicBezTo>
                  <a:cubicBezTo>
                    <a:pt x="1262" y="94"/>
                    <a:pt x="1252" y="100"/>
                    <a:pt x="1246" y="109"/>
                  </a:cubicBezTo>
                  <a:cubicBezTo>
                    <a:pt x="1242" y="116"/>
                    <a:pt x="1239" y="124"/>
                    <a:pt x="1237" y="134"/>
                  </a:cubicBezTo>
                  <a:lnTo>
                    <a:pt x="1311" y="134"/>
                  </a:lnTo>
                  <a:close/>
                  <a:moveTo>
                    <a:pt x="512" y="112"/>
                  </a:moveTo>
                  <a:cubicBezTo>
                    <a:pt x="519" y="135"/>
                    <a:pt x="515" y="155"/>
                    <a:pt x="515" y="157"/>
                  </a:cubicBezTo>
                  <a:cubicBezTo>
                    <a:pt x="515" y="159"/>
                    <a:pt x="512" y="159"/>
                    <a:pt x="512" y="159"/>
                  </a:cubicBezTo>
                  <a:cubicBezTo>
                    <a:pt x="409" y="159"/>
                    <a:pt x="409" y="159"/>
                    <a:pt x="409" y="159"/>
                  </a:cubicBezTo>
                  <a:cubicBezTo>
                    <a:pt x="410" y="175"/>
                    <a:pt x="413" y="186"/>
                    <a:pt x="421" y="194"/>
                  </a:cubicBezTo>
                  <a:cubicBezTo>
                    <a:pt x="428" y="201"/>
                    <a:pt x="440" y="206"/>
                    <a:pt x="456" y="206"/>
                  </a:cubicBezTo>
                  <a:cubicBezTo>
                    <a:pt x="481" y="206"/>
                    <a:pt x="491" y="201"/>
                    <a:pt x="499" y="198"/>
                  </a:cubicBezTo>
                  <a:cubicBezTo>
                    <a:pt x="499" y="198"/>
                    <a:pt x="502" y="197"/>
                    <a:pt x="503" y="200"/>
                  </a:cubicBezTo>
                  <a:cubicBezTo>
                    <a:pt x="509" y="219"/>
                    <a:pt x="509" y="219"/>
                    <a:pt x="509" y="219"/>
                  </a:cubicBezTo>
                  <a:cubicBezTo>
                    <a:pt x="511" y="222"/>
                    <a:pt x="510" y="223"/>
                    <a:pt x="509" y="224"/>
                  </a:cubicBezTo>
                  <a:cubicBezTo>
                    <a:pt x="502" y="227"/>
                    <a:pt x="486" y="234"/>
                    <a:pt x="457" y="234"/>
                  </a:cubicBezTo>
                  <a:cubicBezTo>
                    <a:pt x="442" y="234"/>
                    <a:pt x="429" y="232"/>
                    <a:pt x="419" y="228"/>
                  </a:cubicBezTo>
                  <a:cubicBezTo>
                    <a:pt x="409" y="224"/>
                    <a:pt x="400" y="218"/>
                    <a:pt x="393" y="211"/>
                  </a:cubicBezTo>
                  <a:cubicBezTo>
                    <a:pt x="386" y="203"/>
                    <a:pt x="381" y="195"/>
                    <a:pt x="378" y="184"/>
                  </a:cubicBezTo>
                  <a:cubicBezTo>
                    <a:pt x="375" y="175"/>
                    <a:pt x="373" y="163"/>
                    <a:pt x="373" y="151"/>
                  </a:cubicBezTo>
                  <a:cubicBezTo>
                    <a:pt x="373" y="140"/>
                    <a:pt x="375" y="129"/>
                    <a:pt x="378" y="118"/>
                  </a:cubicBezTo>
                  <a:cubicBezTo>
                    <a:pt x="381" y="108"/>
                    <a:pt x="386" y="99"/>
                    <a:pt x="392" y="92"/>
                  </a:cubicBezTo>
                  <a:cubicBezTo>
                    <a:pt x="398" y="84"/>
                    <a:pt x="406" y="78"/>
                    <a:pt x="416" y="73"/>
                  </a:cubicBezTo>
                  <a:cubicBezTo>
                    <a:pt x="425" y="69"/>
                    <a:pt x="437" y="67"/>
                    <a:pt x="450" y="67"/>
                  </a:cubicBezTo>
                  <a:cubicBezTo>
                    <a:pt x="461" y="67"/>
                    <a:pt x="471" y="69"/>
                    <a:pt x="479" y="73"/>
                  </a:cubicBezTo>
                  <a:cubicBezTo>
                    <a:pt x="486" y="76"/>
                    <a:pt x="492" y="81"/>
                    <a:pt x="499" y="88"/>
                  </a:cubicBezTo>
                  <a:cubicBezTo>
                    <a:pt x="503" y="92"/>
                    <a:pt x="510" y="102"/>
                    <a:pt x="512" y="112"/>
                  </a:cubicBezTo>
                  <a:moveTo>
                    <a:pt x="483" y="134"/>
                  </a:moveTo>
                  <a:cubicBezTo>
                    <a:pt x="482" y="124"/>
                    <a:pt x="481" y="116"/>
                    <a:pt x="476" y="109"/>
                  </a:cubicBezTo>
                  <a:cubicBezTo>
                    <a:pt x="470" y="100"/>
                    <a:pt x="461" y="94"/>
                    <a:pt x="447" y="94"/>
                  </a:cubicBezTo>
                  <a:cubicBezTo>
                    <a:pt x="434" y="94"/>
                    <a:pt x="424" y="100"/>
                    <a:pt x="418" y="109"/>
                  </a:cubicBezTo>
                  <a:cubicBezTo>
                    <a:pt x="414" y="116"/>
                    <a:pt x="411" y="124"/>
                    <a:pt x="409" y="134"/>
                  </a:cubicBezTo>
                  <a:lnTo>
                    <a:pt x="483" y="134"/>
                  </a:lnTo>
                  <a:close/>
                  <a:moveTo>
                    <a:pt x="227" y="129"/>
                  </a:moveTo>
                  <a:cubicBezTo>
                    <a:pt x="227" y="129"/>
                    <a:pt x="235" y="129"/>
                    <a:pt x="244" y="131"/>
                  </a:cubicBezTo>
                  <a:cubicBezTo>
                    <a:pt x="244" y="126"/>
                    <a:pt x="244" y="126"/>
                    <a:pt x="244" y="126"/>
                  </a:cubicBezTo>
                  <a:cubicBezTo>
                    <a:pt x="244" y="113"/>
                    <a:pt x="241" y="106"/>
                    <a:pt x="236" y="102"/>
                  </a:cubicBezTo>
                  <a:cubicBezTo>
                    <a:pt x="230" y="97"/>
                    <a:pt x="221" y="95"/>
                    <a:pt x="210" y="95"/>
                  </a:cubicBezTo>
                  <a:cubicBezTo>
                    <a:pt x="210" y="95"/>
                    <a:pt x="185" y="95"/>
                    <a:pt x="165" y="105"/>
                  </a:cubicBezTo>
                  <a:cubicBezTo>
                    <a:pt x="164" y="106"/>
                    <a:pt x="163" y="106"/>
                    <a:pt x="163" y="106"/>
                  </a:cubicBezTo>
                  <a:cubicBezTo>
                    <a:pt x="163" y="106"/>
                    <a:pt x="161" y="107"/>
                    <a:pt x="160" y="105"/>
                  </a:cubicBezTo>
                  <a:cubicBezTo>
                    <a:pt x="153" y="85"/>
                    <a:pt x="153" y="85"/>
                    <a:pt x="153" y="85"/>
                  </a:cubicBezTo>
                  <a:cubicBezTo>
                    <a:pt x="152" y="82"/>
                    <a:pt x="154" y="81"/>
                    <a:pt x="154" y="81"/>
                  </a:cubicBezTo>
                  <a:cubicBezTo>
                    <a:pt x="163" y="74"/>
                    <a:pt x="185" y="69"/>
                    <a:pt x="185" y="69"/>
                  </a:cubicBezTo>
                  <a:cubicBezTo>
                    <a:pt x="193" y="68"/>
                    <a:pt x="205" y="67"/>
                    <a:pt x="213" y="67"/>
                  </a:cubicBezTo>
                  <a:cubicBezTo>
                    <a:pt x="234" y="67"/>
                    <a:pt x="250" y="71"/>
                    <a:pt x="261" y="81"/>
                  </a:cubicBezTo>
                  <a:cubicBezTo>
                    <a:pt x="272" y="91"/>
                    <a:pt x="277" y="106"/>
                    <a:pt x="277" y="127"/>
                  </a:cubicBezTo>
                  <a:cubicBezTo>
                    <a:pt x="277" y="221"/>
                    <a:pt x="277" y="221"/>
                    <a:pt x="277" y="221"/>
                  </a:cubicBezTo>
                  <a:cubicBezTo>
                    <a:pt x="277" y="221"/>
                    <a:pt x="277" y="224"/>
                    <a:pt x="275" y="225"/>
                  </a:cubicBezTo>
                  <a:cubicBezTo>
                    <a:pt x="275" y="225"/>
                    <a:pt x="271" y="226"/>
                    <a:pt x="267" y="226"/>
                  </a:cubicBezTo>
                  <a:cubicBezTo>
                    <a:pt x="264" y="227"/>
                    <a:pt x="252" y="230"/>
                    <a:pt x="241" y="231"/>
                  </a:cubicBezTo>
                  <a:cubicBezTo>
                    <a:pt x="231" y="233"/>
                    <a:pt x="221" y="234"/>
                    <a:pt x="210" y="234"/>
                  </a:cubicBezTo>
                  <a:cubicBezTo>
                    <a:pt x="200" y="234"/>
                    <a:pt x="191" y="233"/>
                    <a:pt x="183" y="231"/>
                  </a:cubicBezTo>
                  <a:cubicBezTo>
                    <a:pt x="174" y="229"/>
                    <a:pt x="167" y="226"/>
                    <a:pt x="162" y="222"/>
                  </a:cubicBezTo>
                  <a:cubicBezTo>
                    <a:pt x="156" y="218"/>
                    <a:pt x="151" y="212"/>
                    <a:pt x="148" y="206"/>
                  </a:cubicBezTo>
                  <a:cubicBezTo>
                    <a:pt x="145" y="199"/>
                    <a:pt x="143" y="192"/>
                    <a:pt x="143" y="182"/>
                  </a:cubicBezTo>
                  <a:cubicBezTo>
                    <a:pt x="143" y="173"/>
                    <a:pt x="145" y="165"/>
                    <a:pt x="149" y="159"/>
                  </a:cubicBezTo>
                  <a:cubicBezTo>
                    <a:pt x="153" y="152"/>
                    <a:pt x="158" y="146"/>
                    <a:pt x="164" y="141"/>
                  </a:cubicBezTo>
                  <a:cubicBezTo>
                    <a:pt x="170" y="137"/>
                    <a:pt x="177" y="134"/>
                    <a:pt x="185" y="131"/>
                  </a:cubicBezTo>
                  <a:cubicBezTo>
                    <a:pt x="194" y="129"/>
                    <a:pt x="202" y="128"/>
                    <a:pt x="211" y="128"/>
                  </a:cubicBezTo>
                  <a:cubicBezTo>
                    <a:pt x="217" y="128"/>
                    <a:pt x="223" y="128"/>
                    <a:pt x="227" y="129"/>
                  </a:cubicBezTo>
                  <a:moveTo>
                    <a:pt x="186" y="201"/>
                  </a:moveTo>
                  <a:cubicBezTo>
                    <a:pt x="186" y="201"/>
                    <a:pt x="195" y="209"/>
                    <a:pt x="216" y="207"/>
                  </a:cubicBezTo>
                  <a:cubicBezTo>
                    <a:pt x="231" y="206"/>
                    <a:pt x="244" y="204"/>
                    <a:pt x="244" y="204"/>
                  </a:cubicBezTo>
                  <a:cubicBezTo>
                    <a:pt x="244" y="157"/>
                    <a:pt x="244" y="157"/>
                    <a:pt x="244" y="157"/>
                  </a:cubicBezTo>
                  <a:cubicBezTo>
                    <a:pt x="244" y="157"/>
                    <a:pt x="231" y="154"/>
                    <a:pt x="216" y="154"/>
                  </a:cubicBezTo>
                  <a:cubicBezTo>
                    <a:pt x="195" y="154"/>
                    <a:pt x="186" y="162"/>
                    <a:pt x="186" y="162"/>
                  </a:cubicBezTo>
                  <a:cubicBezTo>
                    <a:pt x="180" y="166"/>
                    <a:pt x="177" y="173"/>
                    <a:pt x="177" y="182"/>
                  </a:cubicBezTo>
                  <a:cubicBezTo>
                    <a:pt x="177" y="187"/>
                    <a:pt x="178" y="192"/>
                    <a:pt x="180" y="195"/>
                  </a:cubicBezTo>
                  <a:cubicBezTo>
                    <a:pt x="181" y="197"/>
                    <a:pt x="182" y="198"/>
                    <a:pt x="186" y="201"/>
                  </a:cubicBezTo>
                  <a:moveTo>
                    <a:pt x="1061" y="75"/>
                  </a:moveTo>
                  <a:cubicBezTo>
                    <a:pt x="1062" y="73"/>
                    <a:pt x="1060" y="72"/>
                    <a:pt x="1059" y="72"/>
                  </a:cubicBezTo>
                  <a:cubicBezTo>
                    <a:pt x="1058" y="71"/>
                    <a:pt x="1049" y="69"/>
                    <a:pt x="1042" y="69"/>
                  </a:cubicBezTo>
                  <a:cubicBezTo>
                    <a:pt x="1029" y="68"/>
                    <a:pt x="1022" y="70"/>
                    <a:pt x="1015" y="73"/>
                  </a:cubicBezTo>
                  <a:cubicBezTo>
                    <a:pt x="1009" y="76"/>
                    <a:pt x="1002" y="81"/>
                    <a:pt x="998" y="86"/>
                  </a:cubicBezTo>
                  <a:cubicBezTo>
                    <a:pt x="998" y="73"/>
                    <a:pt x="998" y="73"/>
                    <a:pt x="998" y="73"/>
                  </a:cubicBezTo>
                  <a:cubicBezTo>
                    <a:pt x="998" y="72"/>
                    <a:pt x="997" y="70"/>
                    <a:pt x="995" y="70"/>
                  </a:cubicBezTo>
                  <a:cubicBezTo>
                    <a:pt x="968" y="70"/>
                    <a:pt x="968" y="70"/>
                    <a:pt x="968" y="70"/>
                  </a:cubicBezTo>
                  <a:cubicBezTo>
                    <a:pt x="967" y="70"/>
                    <a:pt x="966" y="72"/>
                    <a:pt x="966" y="73"/>
                  </a:cubicBezTo>
                  <a:cubicBezTo>
                    <a:pt x="966" y="228"/>
                    <a:pt x="966" y="228"/>
                    <a:pt x="966" y="228"/>
                  </a:cubicBezTo>
                  <a:cubicBezTo>
                    <a:pt x="966" y="229"/>
                    <a:pt x="967" y="231"/>
                    <a:pt x="969" y="231"/>
                  </a:cubicBezTo>
                  <a:cubicBezTo>
                    <a:pt x="996" y="231"/>
                    <a:pt x="996" y="231"/>
                    <a:pt x="996" y="231"/>
                  </a:cubicBezTo>
                  <a:cubicBezTo>
                    <a:pt x="998" y="231"/>
                    <a:pt x="999" y="229"/>
                    <a:pt x="999" y="228"/>
                  </a:cubicBezTo>
                  <a:cubicBezTo>
                    <a:pt x="999" y="150"/>
                    <a:pt x="999" y="150"/>
                    <a:pt x="999" y="150"/>
                  </a:cubicBezTo>
                  <a:cubicBezTo>
                    <a:pt x="999" y="140"/>
                    <a:pt x="1000" y="130"/>
                    <a:pt x="1002" y="123"/>
                  </a:cubicBezTo>
                  <a:cubicBezTo>
                    <a:pt x="1005" y="117"/>
                    <a:pt x="1008" y="112"/>
                    <a:pt x="1011" y="108"/>
                  </a:cubicBezTo>
                  <a:cubicBezTo>
                    <a:pt x="1015" y="104"/>
                    <a:pt x="1019" y="102"/>
                    <a:pt x="1024" y="100"/>
                  </a:cubicBezTo>
                  <a:cubicBezTo>
                    <a:pt x="1029" y="99"/>
                    <a:pt x="1034" y="98"/>
                    <a:pt x="1038" y="98"/>
                  </a:cubicBezTo>
                  <a:cubicBezTo>
                    <a:pt x="1043" y="98"/>
                    <a:pt x="1049" y="100"/>
                    <a:pt x="1049" y="100"/>
                  </a:cubicBezTo>
                  <a:cubicBezTo>
                    <a:pt x="1051" y="100"/>
                    <a:pt x="1053" y="99"/>
                    <a:pt x="1053" y="97"/>
                  </a:cubicBezTo>
                  <a:cubicBezTo>
                    <a:pt x="1055" y="92"/>
                    <a:pt x="1060" y="78"/>
                    <a:pt x="1061" y="75"/>
                  </a:cubicBezTo>
                  <a:moveTo>
                    <a:pt x="806" y="4"/>
                  </a:moveTo>
                  <a:cubicBezTo>
                    <a:pt x="803" y="3"/>
                    <a:pt x="800" y="2"/>
                    <a:pt x="796" y="2"/>
                  </a:cubicBezTo>
                  <a:cubicBezTo>
                    <a:pt x="792" y="1"/>
                    <a:pt x="787" y="0"/>
                    <a:pt x="782" y="0"/>
                  </a:cubicBezTo>
                  <a:cubicBezTo>
                    <a:pt x="763" y="0"/>
                    <a:pt x="748" y="6"/>
                    <a:pt x="738" y="16"/>
                  </a:cubicBezTo>
                  <a:cubicBezTo>
                    <a:pt x="728" y="26"/>
                    <a:pt x="721" y="42"/>
                    <a:pt x="717" y="63"/>
                  </a:cubicBezTo>
                  <a:cubicBezTo>
                    <a:pt x="716" y="70"/>
                    <a:pt x="716" y="70"/>
                    <a:pt x="716" y="70"/>
                  </a:cubicBezTo>
                  <a:cubicBezTo>
                    <a:pt x="692" y="70"/>
                    <a:pt x="692" y="70"/>
                    <a:pt x="692" y="70"/>
                  </a:cubicBezTo>
                  <a:cubicBezTo>
                    <a:pt x="692" y="70"/>
                    <a:pt x="690" y="70"/>
                    <a:pt x="689" y="73"/>
                  </a:cubicBezTo>
                  <a:cubicBezTo>
                    <a:pt x="685" y="95"/>
                    <a:pt x="685" y="95"/>
                    <a:pt x="685" y="95"/>
                  </a:cubicBezTo>
                  <a:cubicBezTo>
                    <a:pt x="685" y="97"/>
                    <a:pt x="686" y="98"/>
                    <a:pt x="688" y="98"/>
                  </a:cubicBezTo>
                  <a:cubicBezTo>
                    <a:pt x="711" y="98"/>
                    <a:pt x="711" y="98"/>
                    <a:pt x="711" y="98"/>
                  </a:cubicBezTo>
                  <a:cubicBezTo>
                    <a:pt x="688" y="227"/>
                    <a:pt x="688" y="227"/>
                    <a:pt x="688" y="227"/>
                  </a:cubicBezTo>
                  <a:cubicBezTo>
                    <a:pt x="686" y="238"/>
                    <a:pt x="684" y="246"/>
                    <a:pt x="682" y="253"/>
                  </a:cubicBezTo>
                  <a:cubicBezTo>
                    <a:pt x="680" y="259"/>
                    <a:pt x="677" y="264"/>
                    <a:pt x="675" y="267"/>
                  </a:cubicBezTo>
                  <a:cubicBezTo>
                    <a:pt x="672" y="271"/>
                    <a:pt x="670" y="273"/>
                    <a:pt x="665" y="275"/>
                  </a:cubicBezTo>
                  <a:cubicBezTo>
                    <a:pt x="662" y="276"/>
                    <a:pt x="658" y="276"/>
                    <a:pt x="653" y="276"/>
                  </a:cubicBezTo>
                  <a:cubicBezTo>
                    <a:pt x="651" y="276"/>
                    <a:pt x="647" y="276"/>
                    <a:pt x="645" y="276"/>
                  </a:cubicBezTo>
                  <a:cubicBezTo>
                    <a:pt x="642" y="275"/>
                    <a:pt x="641" y="275"/>
                    <a:pt x="639" y="274"/>
                  </a:cubicBezTo>
                  <a:cubicBezTo>
                    <a:pt x="639" y="274"/>
                    <a:pt x="637" y="273"/>
                    <a:pt x="636" y="275"/>
                  </a:cubicBezTo>
                  <a:cubicBezTo>
                    <a:pt x="635" y="278"/>
                    <a:pt x="629" y="294"/>
                    <a:pt x="628" y="296"/>
                  </a:cubicBezTo>
                  <a:cubicBezTo>
                    <a:pt x="627" y="299"/>
                    <a:pt x="628" y="300"/>
                    <a:pt x="629" y="301"/>
                  </a:cubicBezTo>
                  <a:cubicBezTo>
                    <a:pt x="632" y="302"/>
                    <a:pt x="635" y="302"/>
                    <a:pt x="639" y="303"/>
                  </a:cubicBezTo>
                  <a:cubicBezTo>
                    <a:pt x="645" y="305"/>
                    <a:pt x="650" y="305"/>
                    <a:pt x="654" y="305"/>
                  </a:cubicBezTo>
                  <a:cubicBezTo>
                    <a:pt x="664" y="305"/>
                    <a:pt x="672" y="303"/>
                    <a:pt x="679" y="301"/>
                  </a:cubicBezTo>
                  <a:cubicBezTo>
                    <a:pt x="687" y="298"/>
                    <a:pt x="693" y="294"/>
                    <a:pt x="699" y="288"/>
                  </a:cubicBezTo>
                  <a:cubicBezTo>
                    <a:pt x="705" y="281"/>
                    <a:pt x="708" y="274"/>
                    <a:pt x="712" y="264"/>
                  </a:cubicBezTo>
                  <a:cubicBezTo>
                    <a:pt x="716" y="255"/>
                    <a:pt x="719" y="243"/>
                    <a:pt x="721" y="230"/>
                  </a:cubicBezTo>
                  <a:cubicBezTo>
                    <a:pt x="744" y="98"/>
                    <a:pt x="744" y="98"/>
                    <a:pt x="744" y="98"/>
                  </a:cubicBezTo>
                  <a:cubicBezTo>
                    <a:pt x="778" y="98"/>
                    <a:pt x="778" y="98"/>
                    <a:pt x="778" y="98"/>
                  </a:cubicBezTo>
                  <a:cubicBezTo>
                    <a:pt x="778" y="98"/>
                    <a:pt x="781" y="98"/>
                    <a:pt x="782" y="95"/>
                  </a:cubicBezTo>
                  <a:cubicBezTo>
                    <a:pt x="786" y="73"/>
                    <a:pt x="786" y="73"/>
                    <a:pt x="786" y="73"/>
                  </a:cubicBezTo>
                  <a:cubicBezTo>
                    <a:pt x="786" y="71"/>
                    <a:pt x="785" y="70"/>
                    <a:pt x="782" y="70"/>
                  </a:cubicBezTo>
                  <a:cubicBezTo>
                    <a:pt x="749" y="70"/>
                    <a:pt x="749" y="70"/>
                    <a:pt x="749" y="70"/>
                  </a:cubicBezTo>
                  <a:cubicBezTo>
                    <a:pt x="749" y="69"/>
                    <a:pt x="751" y="58"/>
                    <a:pt x="755" y="47"/>
                  </a:cubicBezTo>
                  <a:cubicBezTo>
                    <a:pt x="756" y="42"/>
                    <a:pt x="759" y="38"/>
                    <a:pt x="762" y="36"/>
                  </a:cubicBezTo>
                  <a:cubicBezTo>
                    <a:pt x="765" y="33"/>
                    <a:pt x="767" y="31"/>
                    <a:pt x="771" y="30"/>
                  </a:cubicBezTo>
                  <a:cubicBezTo>
                    <a:pt x="774" y="29"/>
                    <a:pt x="778" y="29"/>
                    <a:pt x="782" y="29"/>
                  </a:cubicBezTo>
                  <a:cubicBezTo>
                    <a:pt x="785" y="29"/>
                    <a:pt x="788" y="29"/>
                    <a:pt x="790" y="30"/>
                  </a:cubicBezTo>
                  <a:cubicBezTo>
                    <a:pt x="793" y="30"/>
                    <a:pt x="795" y="31"/>
                    <a:pt x="796" y="31"/>
                  </a:cubicBezTo>
                  <a:cubicBezTo>
                    <a:pt x="799" y="32"/>
                    <a:pt x="799" y="31"/>
                    <a:pt x="800" y="29"/>
                  </a:cubicBezTo>
                  <a:cubicBezTo>
                    <a:pt x="808" y="8"/>
                    <a:pt x="808" y="8"/>
                    <a:pt x="808" y="8"/>
                  </a:cubicBezTo>
                  <a:cubicBezTo>
                    <a:pt x="809" y="5"/>
                    <a:pt x="807" y="4"/>
                    <a:pt x="806" y="4"/>
                  </a:cubicBezTo>
                  <a:moveTo>
                    <a:pt x="344" y="7"/>
                  </a:moveTo>
                  <a:cubicBezTo>
                    <a:pt x="344" y="5"/>
                    <a:pt x="343" y="4"/>
                    <a:pt x="341" y="4"/>
                  </a:cubicBezTo>
                  <a:cubicBezTo>
                    <a:pt x="314" y="4"/>
                    <a:pt x="314" y="4"/>
                    <a:pt x="314" y="4"/>
                  </a:cubicBezTo>
                  <a:cubicBezTo>
                    <a:pt x="312" y="4"/>
                    <a:pt x="311" y="5"/>
                    <a:pt x="311" y="7"/>
                  </a:cubicBezTo>
                  <a:cubicBezTo>
                    <a:pt x="311" y="228"/>
                    <a:pt x="311" y="228"/>
                    <a:pt x="311" y="228"/>
                  </a:cubicBezTo>
                  <a:cubicBezTo>
                    <a:pt x="311" y="229"/>
                    <a:pt x="312" y="231"/>
                    <a:pt x="314" y="231"/>
                  </a:cubicBezTo>
                  <a:cubicBezTo>
                    <a:pt x="341" y="231"/>
                    <a:pt x="341" y="231"/>
                    <a:pt x="341" y="231"/>
                  </a:cubicBezTo>
                  <a:cubicBezTo>
                    <a:pt x="343" y="231"/>
                    <a:pt x="344" y="229"/>
                    <a:pt x="344" y="228"/>
                  </a:cubicBezTo>
                  <a:lnTo>
                    <a:pt x="344"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6" name="Freeform 5"/>
          <p:cNvSpPr>
            <a:spLocks noChangeAspect="1" noEditPoints="1"/>
          </p:cNvSpPr>
          <p:nvPr/>
        </p:nvSpPr>
        <p:spPr bwMode="black">
          <a:xfrm>
            <a:off x="4787728" y="2892040"/>
            <a:ext cx="3406560" cy="580806"/>
          </a:xfrm>
          <a:custGeom>
            <a:avLst/>
            <a:gdLst>
              <a:gd name="T0" fmla="*/ 398 w 1618"/>
              <a:gd name="T1" fmla="*/ 273 h 273"/>
              <a:gd name="T2" fmla="*/ 160 w 1618"/>
              <a:gd name="T3" fmla="*/ 155 h 273"/>
              <a:gd name="T4" fmla="*/ 362 w 1618"/>
              <a:gd name="T5" fmla="*/ 116 h 273"/>
              <a:gd name="T6" fmla="*/ 149 w 1618"/>
              <a:gd name="T7" fmla="*/ 144 h 273"/>
              <a:gd name="T8" fmla="*/ 336 w 1618"/>
              <a:gd name="T9" fmla="*/ 97 h 273"/>
              <a:gd name="T10" fmla="*/ 92 w 1618"/>
              <a:gd name="T11" fmla="*/ 60 h 273"/>
              <a:gd name="T12" fmla="*/ 59 w 1618"/>
              <a:gd name="T13" fmla="*/ 255 h 273"/>
              <a:gd name="T14" fmla="*/ 685 w 1618"/>
              <a:gd name="T15" fmla="*/ 98 h 273"/>
              <a:gd name="T16" fmla="*/ 552 w 1618"/>
              <a:gd name="T17" fmla="*/ 62 h 273"/>
              <a:gd name="T18" fmla="*/ 518 w 1618"/>
              <a:gd name="T19" fmla="*/ 209 h 273"/>
              <a:gd name="T20" fmla="*/ 651 w 1618"/>
              <a:gd name="T21" fmla="*/ 245 h 273"/>
              <a:gd name="T22" fmla="*/ 685 w 1618"/>
              <a:gd name="T23" fmla="*/ 98 h 273"/>
              <a:gd name="T24" fmla="*/ 564 w 1618"/>
              <a:gd name="T25" fmla="*/ 226 h 273"/>
              <a:gd name="T26" fmla="*/ 540 w 1618"/>
              <a:gd name="T27" fmla="*/ 111 h 273"/>
              <a:gd name="T28" fmla="*/ 653 w 1618"/>
              <a:gd name="T29" fmla="*/ 93 h 273"/>
              <a:gd name="T30" fmla="*/ 845 w 1618"/>
              <a:gd name="T31" fmla="*/ 166 h 273"/>
              <a:gd name="T32" fmla="*/ 749 w 1618"/>
              <a:gd name="T33" fmla="*/ 134 h 273"/>
              <a:gd name="T34" fmla="*/ 726 w 1618"/>
              <a:gd name="T35" fmla="*/ 110 h 273"/>
              <a:gd name="T36" fmla="*/ 749 w 1618"/>
              <a:gd name="T37" fmla="*/ 172 h 273"/>
              <a:gd name="T38" fmla="*/ 822 w 1618"/>
              <a:gd name="T39" fmla="*/ 172 h 273"/>
              <a:gd name="T40" fmla="*/ 845 w 1618"/>
              <a:gd name="T41" fmla="*/ 166 h 273"/>
              <a:gd name="T42" fmla="*/ 937 w 1618"/>
              <a:gd name="T43" fmla="*/ 107 h 273"/>
              <a:gd name="T44" fmla="*/ 871 w 1618"/>
              <a:gd name="T45" fmla="*/ 183 h 273"/>
              <a:gd name="T46" fmla="*/ 986 w 1618"/>
              <a:gd name="T47" fmla="*/ 244 h 273"/>
              <a:gd name="T48" fmla="*/ 907 w 1618"/>
              <a:gd name="T49" fmla="*/ 225 h 273"/>
              <a:gd name="T50" fmla="*/ 996 w 1618"/>
              <a:gd name="T51" fmla="*/ 176 h 273"/>
              <a:gd name="T52" fmla="*/ 937 w 1618"/>
              <a:gd name="T53" fmla="*/ 127 h 273"/>
              <a:gd name="T54" fmla="*/ 895 w 1618"/>
              <a:gd name="T55" fmla="*/ 169 h 273"/>
              <a:gd name="T56" fmla="*/ 1026 w 1618"/>
              <a:gd name="T57" fmla="*/ 254 h 273"/>
              <a:gd name="T58" fmla="*/ 1174 w 1618"/>
              <a:gd name="T59" fmla="*/ 205 h 273"/>
              <a:gd name="T60" fmla="*/ 1141 w 1618"/>
              <a:gd name="T61" fmla="*/ 212 h 273"/>
              <a:gd name="T62" fmla="*/ 1049 w 1618"/>
              <a:gd name="T63" fmla="*/ 74 h 273"/>
              <a:gd name="T64" fmla="*/ 1141 w 1618"/>
              <a:gd name="T65" fmla="*/ 212 h 273"/>
              <a:gd name="T66" fmla="*/ 1256 w 1618"/>
              <a:gd name="T67" fmla="*/ 117 h 273"/>
              <a:gd name="T68" fmla="*/ 1241 w 1618"/>
              <a:gd name="T69" fmla="*/ 110 h 273"/>
              <a:gd name="T70" fmla="*/ 1241 w 1618"/>
              <a:gd name="T71" fmla="*/ 254 h 273"/>
              <a:gd name="T72" fmla="*/ 1275 w 1618"/>
              <a:gd name="T73" fmla="*/ 129 h 273"/>
              <a:gd name="T74" fmla="*/ 1333 w 1618"/>
              <a:gd name="T75" fmla="*/ 48 h 273"/>
              <a:gd name="T76" fmla="*/ 1307 w 1618"/>
              <a:gd name="T77" fmla="*/ 59 h 273"/>
              <a:gd name="T78" fmla="*/ 1333 w 1618"/>
              <a:gd name="T79" fmla="*/ 70 h 273"/>
              <a:gd name="T80" fmla="*/ 1334 w 1618"/>
              <a:gd name="T81" fmla="*/ 110 h 273"/>
              <a:gd name="T82" fmla="*/ 1334 w 1618"/>
              <a:gd name="T83" fmla="*/ 254 h 273"/>
              <a:gd name="T84" fmla="*/ 1424 w 1618"/>
              <a:gd name="T85" fmla="*/ 216 h 273"/>
              <a:gd name="T86" fmla="*/ 1414 w 1618"/>
              <a:gd name="T87" fmla="*/ 215 h 273"/>
              <a:gd name="T88" fmla="*/ 1406 w 1618"/>
              <a:gd name="T89" fmla="*/ 254 h 273"/>
              <a:gd name="T90" fmla="*/ 1462 w 1618"/>
              <a:gd name="T91" fmla="*/ 110 h 273"/>
              <a:gd name="T92" fmla="*/ 1559 w 1618"/>
              <a:gd name="T93" fmla="*/ 107 h 273"/>
              <a:gd name="T94" fmla="*/ 1493 w 1618"/>
              <a:gd name="T95" fmla="*/ 183 h 273"/>
              <a:gd name="T96" fmla="*/ 1608 w 1618"/>
              <a:gd name="T97" fmla="*/ 244 h 273"/>
              <a:gd name="T98" fmla="*/ 1530 w 1618"/>
              <a:gd name="T99" fmla="*/ 225 h 273"/>
              <a:gd name="T100" fmla="*/ 1618 w 1618"/>
              <a:gd name="T101" fmla="*/ 176 h 273"/>
              <a:gd name="T102" fmla="*/ 1559 w 1618"/>
              <a:gd name="T103" fmla="*/ 127 h 273"/>
              <a:gd name="T104" fmla="*/ 1517 w 1618"/>
              <a:gd name="T105" fmla="*/ 16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8"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moveTo>
                  <a:pt x="685" y="98"/>
                </a:moveTo>
                <a:cubicBezTo>
                  <a:pt x="677" y="83"/>
                  <a:pt x="666" y="71"/>
                  <a:pt x="652" y="62"/>
                </a:cubicBezTo>
                <a:cubicBezTo>
                  <a:pt x="638" y="54"/>
                  <a:pt x="622" y="49"/>
                  <a:pt x="604" y="49"/>
                </a:cubicBezTo>
                <a:cubicBezTo>
                  <a:pt x="584" y="49"/>
                  <a:pt x="567" y="54"/>
                  <a:pt x="552" y="62"/>
                </a:cubicBezTo>
                <a:cubicBezTo>
                  <a:pt x="537" y="71"/>
                  <a:pt x="526" y="84"/>
                  <a:pt x="518" y="100"/>
                </a:cubicBezTo>
                <a:cubicBezTo>
                  <a:pt x="510" y="116"/>
                  <a:pt x="506" y="135"/>
                  <a:pt x="506" y="156"/>
                </a:cubicBezTo>
                <a:cubicBezTo>
                  <a:pt x="506" y="176"/>
                  <a:pt x="510" y="193"/>
                  <a:pt x="518" y="209"/>
                </a:cubicBezTo>
                <a:cubicBezTo>
                  <a:pt x="525" y="225"/>
                  <a:pt x="537" y="237"/>
                  <a:pt x="551" y="245"/>
                </a:cubicBezTo>
                <a:cubicBezTo>
                  <a:pt x="565" y="254"/>
                  <a:pt x="582" y="258"/>
                  <a:pt x="600" y="258"/>
                </a:cubicBezTo>
                <a:cubicBezTo>
                  <a:pt x="619" y="258"/>
                  <a:pt x="636" y="254"/>
                  <a:pt x="651" y="245"/>
                </a:cubicBezTo>
                <a:cubicBezTo>
                  <a:pt x="666" y="236"/>
                  <a:pt x="677" y="224"/>
                  <a:pt x="685" y="208"/>
                </a:cubicBezTo>
                <a:cubicBezTo>
                  <a:pt x="693" y="191"/>
                  <a:pt x="696" y="173"/>
                  <a:pt x="696" y="151"/>
                </a:cubicBezTo>
                <a:cubicBezTo>
                  <a:pt x="696" y="131"/>
                  <a:pt x="693" y="114"/>
                  <a:pt x="685" y="98"/>
                </a:cubicBezTo>
                <a:close/>
                <a:moveTo>
                  <a:pt x="653" y="215"/>
                </a:moveTo>
                <a:cubicBezTo>
                  <a:pt x="640" y="229"/>
                  <a:pt x="623" y="237"/>
                  <a:pt x="600" y="237"/>
                </a:cubicBezTo>
                <a:cubicBezTo>
                  <a:pt x="587" y="237"/>
                  <a:pt x="575" y="233"/>
                  <a:pt x="564" y="226"/>
                </a:cubicBezTo>
                <a:cubicBezTo>
                  <a:pt x="553" y="219"/>
                  <a:pt x="545" y="210"/>
                  <a:pt x="539" y="197"/>
                </a:cubicBezTo>
                <a:cubicBezTo>
                  <a:pt x="533" y="184"/>
                  <a:pt x="531" y="170"/>
                  <a:pt x="531" y="154"/>
                </a:cubicBezTo>
                <a:cubicBezTo>
                  <a:pt x="531" y="138"/>
                  <a:pt x="534" y="124"/>
                  <a:pt x="540" y="111"/>
                </a:cubicBezTo>
                <a:cubicBezTo>
                  <a:pt x="546" y="98"/>
                  <a:pt x="554" y="88"/>
                  <a:pt x="565" y="81"/>
                </a:cubicBezTo>
                <a:cubicBezTo>
                  <a:pt x="576" y="74"/>
                  <a:pt x="588" y="71"/>
                  <a:pt x="602" y="71"/>
                </a:cubicBezTo>
                <a:cubicBezTo>
                  <a:pt x="624" y="71"/>
                  <a:pt x="641" y="78"/>
                  <a:pt x="653" y="93"/>
                </a:cubicBezTo>
                <a:cubicBezTo>
                  <a:pt x="666" y="107"/>
                  <a:pt x="672" y="128"/>
                  <a:pt x="672" y="154"/>
                </a:cubicBezTo>
                <a:cubicBezTo>
                  <a:pt x="672" y="180"/>
                  <a:pt x="665" y="200"/>
                  <a:pt x="653" y="215"/>
                </a:cubicBezTo>
                <a:close/>
                <a:moveTo>
                  <a:pt x="845" y="166"/>
                </a:moveTo>
                <a:cubicBezTo>
                  <a:pt x="845" y="147"/>
                  <a:pt x="841" y="133"/>
                  <a:pt x="833" y="122"/>
                </a:cubicBezTo>
                <a:cubicBezTo>
                  <a:pt x="825" y="112"/>
                  <a:pt x="813" y="107"/>
                  <a:pt x="797" y="107"/>
                </a:cubicBezTo>
                <a:cubicBezTo>
                  <a:pt x="776" y="107"/>
                  <a:pt x="760" y="116"/>
                  <a:pt x="749" y="134"/>
                </a:cubicBezTo>
                <a:cubicBezTo>
                  <a:pt x="749" y="134"/>
                  <a:pt x="749" y="134"/>
                  <a:pt x="749" y="134"/>
                </a:cubicBezTo>
                <a:cubicBezTo>
                  <a:pt x="749" y="110"/>
                  <a:pt x="749" y="110"/>
                  <a:pt x="749" y="110"/>
                </a:cubicBezTo>
                <a:cubicBezTo>
                  <a:pt x="726" y="110"/>
                  <a:pt x="726" y="110"/>
                  <a:pt x="726" y="110"/>
                </a:cubicBezTo>
                <a:cubicBezTo>
                  <a:pt x="726" y="254"/>
                  <a:pt x="726" y="254"/>
                  <a:pt x="726" y="254"/>
                </a:cubicBezTo>
                <a:cubicBezTo>
                  <a:pt x="749" y="254"/>
                  <a:pt x="749" y="254"/>
                  <a:pt x="749" y="254"/>
                </a:cubicBezTo>
                <a:cubicBezTo>
                  <a:pt x="749" y="172"/>
                  <a:pt x="749" y="172"/>
                  <a:pt x="749" y="172"/>
                </a:cubicBezTo>
                <a:cubicBezTo>
                  <a:pt x="749" y="159"/>
                  <a:pt x="753" y="148"/>
                  <a:pt x="760" y="139"/>
                </a:cubicBezTo>
                <a:cubicBezTo>
                  <a:pt x="768" y="131"/>
                  <a:pt x="777" y="127"/>
                  <a:pt x="789" y="127"/>
                </a:cubicBezTo>
                <a:cubicBezTo>
                  <a:pt x="811" y="127"/>
                  <a:pt x="822" y="142"/>
                  <a:pt x="822" y="172"/>
                </a:cubicBezTo>
                <a:cubicBezTo>
                  <a:pt x="822" y="254"/>
                  <a:pt x="822" y="254"/>
                  <a:pt x="822" y="254"/>
                </a:cubicBezTo>
                <a:cubicBezTo>
                  <a:pt x="845" y="254"/>
                  <a:pt x="845" y="254"/>
                  <a:pt x="845" y="254"/>
                </a:cubicBezTo>
                <a:lnTo>
                  <a:pt x="845" y="166"/>
                </a:lnTo>
                <a:close/>
                <a:moveTo>
                  <a:pt x="996" y="176"/>
                </a:moveTo>
                <a:cubicBezTo>
                  <a:pt x="996" y="154"/>
                  <a:pt x="991" y="137"/>
                  <a:pt x="981" y="125"/>
                </a:cubicBezTo>
                <a:cubicBezTo>
                  <a:pt x="970" y="113"/>
                  <a:pt x="956" y="107"/>
                  <a:pt x="937" y="107"/>
                </a:cubicBezTo>
                <a:cubicBezTo>
                  <a:pt x="924" y="107"/>
                  <a:pt x="913" y="110"/>
                  <a:pt x="903" y="117"/>
                </a:cubicBezTo>
                <a:cubicBezTo>
                  <a:pt x="893" y="123"/>
                  <a:pt x="885" y="132"/>
                  <a:pt x="879" y="144"/>
                </a:cubicBezTo>
                <a:cubicBezTo>
                  <a:pt x="874" y="156"/>
                  <a:pt x="871" y="169"/>
                  <a:pt x="871" y="183"/>
                </a:cubicBezTo>
                <a:cubicBezTo>
                  <a:pt x="871" y="206"/>
                  <a:pt x="876" y="225"/>
                  <a:pt x="888" y="238"/>
                </a:cubicBezTo>
                <a:cubicBezTo>
                  <a:pt x="899" y="251"/>
                  <a:pt x="915" y="258"/>
                  <a:pt x="936" y="258"/>
                </a:cubicBezTo>
                <a:cubicBezTo>
                  <a:pt x="957" y="258"/>
                  <a:pt x="974" y="253"/>
                  <a:pt x="986" y="244"/>
                </a:cubicBezTo>
                <a:cubicBezTo>
                  <a:pt x="986" y="223"/>
                  <a:pt x="986" y="223"/>
                  <a:pt x="986" y="223"/>
                </a:cubicBezTo>
                <a:cubicBezTo>
                  <a:pt x="973" y="233"/>
                  <a:pt x="958" y="238"/>
                  <a:pt x="942" y="238"/>
                </a:cubicBezTo>
                <a:cubicBezTo>
                  <a:pt x="927" y="238"/>
                  <a:pt x="916" y="234"/>
                  <a:pt x="907" y="225"/>
                </a:cubicBezTo>
                <a:cubicBezTo>
                  <a:pt x="899" y="217"/>
                  <a:pt x="895" y="204"/>
                  <a:pt x="895" y="188"/>
                </a:cubicBezTo>
                <a:cubicBezTo>
                  <a:pt x="996" y="188"/>
                  <a:pt x="996" y="188"/>
                  <a:pt x="996" y="188"/>
                </a:cubicBezTo>
                <a:lnTo>
                  <a:pt x="996" y="176"/>
                </a:lnTo>
                <a:close/>
                <a:moveTo>
                  <a:pt x="895" y="169"/>
                </a:moveTo>
                <a:cubicBezTo>
                  <a:pt x="897" y="156"/>
                  <a:pt x="902" y="146"/>
                  <a:pt x="909" y="138"/>
                </a:cubicBezTo>
                <a:cubicBezTo>
                  <a:pt x="917" y="130"/>
                  <a:pt x="926" y="127"/>
                  <a:pt x="937" y="127"/>
                </a:cubicBezTo>
                <a:cubicBezTo>
                  <a:pt x="948" y="127"/>
                  <a:pt x="957" y="130"/>
                  <a:pt x="963" y="138"/>
                </a:cubicBezTo>
                <a:cubicBezTo>
                  <a:pt x="969" y="145"/>
                  <a:pt x="972" y="155"/>
                  <a:pt x="973" y="169"/>
                </a:cubicBezTo>
                <a:lnTo>
                  <a:pt x="895" y="169"/>
                </a:lnTo>
                <a:close/>
                <a:moveTo>
                  <a:pt x="1082" y="53"/>
                </a:moveTo>
                <a:cubicBezTo>
                  <a:pt x="1026" y="53"/>
                  <a:pt x="1026" y="53"/>
                  <a:pt x="1026" y="53"/>
                </a:cubicBezTo>
                <a:cubicBezTo>
                  <a:pt x="1026" y="254"/>
                  <a:pt x="1026" y="254"/>
                  <a:pt x="1026" y="254"/>
                </a:cubicBezTo>
                <a:cubicBezTo>
                  <a:pt x="1079" y="254"/>
                  <a:pt x="1079" y="254"/>
                  <a:pt x="1079" y="254"/>
                </a:cubicBezTo>
                <a:cubicBezTo>
                  <a:pt x="1101" y="254"/>
                  <a:pt x="1120" y="250"/>
                  <a:pt x="1136" y="242"/>
                </a:cubicBezTo>
                <a:cubicBezTo>
                  <a:pt x="1153" y="233"/>
                  <a:pt x="1165" y="221"/>
                  <a:pt x="1174" y="205"/>
                </a:cubicBezTo>
                <a:cubicBezTo>
                  <a:pt x="1183" y="190"/>
                  <a:pt x="1188" y="172"/>
                  <a:pt x="1188" y="151"/>
                </a:cubicBezTo>
                <a:cubicBezTo>
                  <a:pt x="1188" y="86"/>
                  <a:pt x="1153" y="53"/>
                  <a:pt x="1082" y="53"/>
                </a:cubicBezTo>
                <a:close/>
                <a:moveTo>
                  <a:pt x="1141" y="212"/>
                </a:moveTo>
                <a:cubicBezTo>
                  <a:pt x="1127" y="226"/>
                  <a:pt x="1106" y="233"/>
                  <a:pt x="1079" y="233"/>
                </a:cubicBezTo>
                <a:cubicBezTo>
                  <a:pt x="1049" y="233"/>
                  <a:pt x="1049" y="233"/>
                  <a:pt x="1049" y="233"/>
                </a:cubicBezTo>
                <a:cubicBezTo>
                  <a:pt x="1049" y="74"/>
                  <a:pt x="1049" y="74"/>
                  <a:pt x="1049" y="74"/>
                </a:cubicBezTo>
                <a:cubicBezTo>
                  <a:pt x="1081" y="74"/>
                  <a:pt x="1081" y="74"/>
                  <a:pt x="1081" y="74"/>
                </a:cubicBezTo>
                <a:cubicBezTo>
                  <a:pt x="1136" y="74"/>
                  <a:pt x="1163" y="100"/>
                  <a:pt x="1163" y="152"/>
                </a:cubicBezTo>
                <a:cubicBezTo>
                  <a:pt x="1163" y="178"/>
                  <a:pt x="1156" y="198"/>
                  <a:pt x="1141" y="212"/>
                </a:cubicBezTo>
                <a:close/>
                <a:moveTo>
                  <a:pt x="1293" y="110"/>
                </a:moveTo>
                <a:cubicBezTo>
                  <a:pt x="1289" y="109"/>
                  <a:pt x="1285" y="108"/>
                  <a:pt x="1279" y="108"/>
                </a:cubicBezTo>
                <a:cubicBezTo>
                  <a:pt x="1270" y="108"/>
                  <a:pt x="1263" y="111"/>
                  <a:pt x="1256" y="117"/>
                </a:cubicBezTo>
                <a:cubicBezTo>
                  <a:pt x="1249" y="122"/>
                  <a:pt x="1244" y="130"/>
                  <a:pt x="1241" y="140"/>
                </a:cubicBezTo>
                <a:cubicBezTo>
                  <a:pt x="1241" y="140"/>
                  <a:pt x="1241" y="140"/>
                  <a:pt x="1241" y="140"/>
                </a:cubicBezTo>
                <a:cubicBezTo>
                  <a:pt x="1241" y="110"/>
                  <a:pt x="1241" y="110"/>
                  <a:pt x="1241" y="110"/>
                </a:cubicBezTo>
                <a:cubicBezTo>
                  <a:pt x="1217" y="110"/>
                  <a:pt x="1217" y="110"/>
                  <a:pt x="1217" y="110"/>
                </a:cubicBezTo>
                <a:cubicBezTo>
                  <a:pt x="1217" y="254"/>
                  <a:pt x="1217" y="254"/>
                  <a:pt x="1217" y="254"/>
                </a:cubicBezTo>
                <a:cubicBezTo>
                  <a:pt x="1241" y="254"/>
                  <a:pt x="1241" y="254"/>
                  <a:pt x="1241" y="254"/>
                </a:cubicBezTo>
                <a:cubicBezTo>
                  <a:pt x="1241" y="181"/>
                  <a:pt x="1241" y="181"/>
                  <a:pt x="1241" y="181"/>
                </a:cubicBezTo>
                <a:cubicBezTo>
                  <a:pt x="1241" y="166"/>
                  <a:pt x="1244" y="153"/>
                  <a:pt x="1250" y="144"/>
                </a:cubicBezTo>
                <a:cubicBezTo>
                  <a:pt x="1256" y="134"/>
                  <a:pt x="1265" y="129"/>
                  <a:pt x="1275" y="129"/>
                </a:cubicBezTo>
                <a:cubicBezTo>
                  <a:pt x="1283" y="129"/>
                  <a:pt x="1288" y="131"/>
                  <a:pt x="1293" y="134"/>
                </a:cubicBezTo>
                <a:lnTo>
                  <a:pt x="1293" y="110"/>
                </a:lnTo>
                <a:close/>
                <a:moveTo>
                  <a:pt x="1333" y="48"/>
                </a:moveTo>
                <a:cubicBezTo>
                  <a:pt x="1330" y="45"/>
                  <a:pt x="1327" y="44"/>
                  <a:pt x="1322" y="44"/>
                </a:cubicBezTo>
                <a:cubicBezTo>
                  <a:pt x="1318" y="44"/>
                  <a:pt x="1314" y="45"/>
                  <a:pt x="1312" y="48"/>
                </a:cubicBezTo>
                <a:cubicBezTo>
                  <a:pt x="1309" y="51"/>
                  <a:pt x="1307" y="55"/>
                  <a:pt x="1307" y="59"/>
                </a:cubicBezTo>
                <a:cubicBezTo>
                  <a:pt x="1307" y="63"/>
                  <a:pt x="1309" y="67"/>
                  <a:pt x="1312" y="70"/>
                </a:cubicBezTo>
                <a:cubicBezTo>
                  <a:pt x="1315" y="72"/>
                  <a:pt x="1318" y="74"/>
                  <a:pt x="1322" y="74"/>
                </a:cubicBezTo>
                <a:cubicBezTo>
                  <a:pt x="1327" y="74"/>
                  <a:pt x="1330" y="72"/>
                  <a:pt x="1333" y="70"/>
                </a:cubicBezTo>
                <a:cubicBezTo>
                  <a:pt x="1336" y="67"/>
                  <a:pt x="1338" y="63"/>
                  <a:pt x="1338" y="59"/>
                </a:cubicBezTo>
                <a:cubicBezTo>
                  <a:pt x="1338" y="55"/>
                  <a:pt x="1336" y="51"/>
                  <a:pt x="1333" y="48"/>
                </a:cubicBezTo>
                <a:close/>
                <a:moveTo>
                  <a:pt x="1334" y="110"/>
                </a:moveTo>
                <a:cubicBezTo>
                  <a:pt x="1311" y="110"/>
                  <a:pt x="1311" y="110"/>
                  <a:pt x="1311" y="110"/>
                </a:cubicBezTo>
                <a:cubicBezTo>
                  <a:pt x="1311" y="254"/>
                  <a:pt x="1311" y="254"/>
                  <a:pt x="1311" y="254"/>
                </a:cubicBezTo>
                <a:cubicBezTo>
                  <a:pt x="1334" y="254"/>
                  <a:pt x="1334" y="254"/>
                  <a:pt x="1334" y="254"/>
                </a:cubicBezTo>
                <a:lnTo>
                  <a:pt x="1334" y="110"/>
                </a:lnTo>
                <a:close/>
                <a:moveTo>
                  <a:pt x="1462" y="110"/>
                </a:moveTo>
                <a:cubicBezTo>
                  <a:pt x="1424" y="216"/>
                  <a:pt x="1424" y="216"/>
                  <a:pt x="1424" y="216"/>
                </a:cubicBezTo>
                <a:cubicBezTo>
                  <a:pt x="1422" y="222"/>
                  <a:pt x="1420" y="228"/>
                  <a:pt x="1419" y="235"/>
                </a:cubicBezTo>
                <a:cubicBezTo>
                  <a:pt x="1419" y="235"/>
                  <a:pt x="1419" y="235"/>
                  <a:pt x="1419" y="235"/>
                </a:cubicBezTo>
                <a:cubicBezTo>
                  <a:pt x="1417" y="227"/>
                  <a:pt x="1416" y="220"/>
                  <a:pt x="1414" y="215"/>
                </a:cubicBezTo>
                <a:cubicBezTo>
                  <a:pt x="1377" y="110"/>
                  <a:pt x="1377" y="110"/>
                  <a:pt x="1377" y="110"/>
                </a:cubicBezTo>
                <a:cubicBezTo>
                  <a:pt x="1352" y="110"/>
                  <a:pt x="1352" y="110"/>
                  <a:pt x="1352" y="110"/>
                </a:cubicBezTo>
                <a:cubicBezTo>
                  <a:pt x="1406" y="254"/>
                  <a:pt x="1406" y="254"/>
                  <a:pt x="1406" y="254"/>
                </a:cubicBezTo>
                <a:cubicBezTo>
                  <a:pt x="1429" y="254"/>
                  <a:pt x="1429" y="254"/>
                  <a:pt x="1429" y="254"/>
                </a:cubicBezTo>
                <a:cubicBezTo>
                  <a:pt x="1486" y="110"/>
                  <a:pt x="1486" y="110"/>
                  <a:pt x="1486" y="110"/>
                </a:cubicBezTo>
                <a:lnTo>
                  <a:pt x="1462" y="110"/>
                </a:lnTo>
                <a:close/>
                <a:moveTo>
                  <a:pt x="1618" y="176"/>
                </a:moveTo>
                <a:cubicBezTo>
                  <a:pt x="1618" y="154"/>
                  <a:pt x="1613" y="137"/>
                  <a:pt x="1603" y="125"/>
                </a:cubicBezTo>
                <a:cubicBezTo>
                  <a:pt x="1592" y="113"/>
                  <a:pt x="1578" y="107"/>
                  <a:pt x="1559" y="107"/>
                </a:cubicBezTo>
                <a:cubicBezTo>
                  <a:pt x="1547" y="107"/>
                  <a:pt x="1536" y="110"/>
                  <a:pt x="1525" y="117"/>
                </a:cubicBezTo>
                <a:cubicBezTo>
                  <a:pt x="1515" y="123"/>
                  <a:pt x="1507" y="132"/>
                  <a:pt x="1502" y="144"/>
                </a:cubicBezTo>
                <a:cubicBezTo>
                  <a:pt x="1496" y="156"/>
                  <a:pt x="1493" y="169"/>
                  <a:pt x="1493" y="183"/>
                </a:cubicBezTo>
                <a:cubicBezTo>
                  <a:pt x="1493" y="206"/>
                  <a:pt x="1499" y="225"/>
                  <a:pt x="1510" y="238"/>
                </a:cubicBezTo>
                <a:cubicBezTo>
                  <a:pt x="1522" y="251"/>
                  <a:pt x="1538" y="258"/>
                  <a:pt x="1558" y="258"/>
                </a:cubicBezTo>
                <a:cubicBezTo>
                  <a:pt x="1579" y="258"/>
                  <a:pt x="1596" y="253"/>
                  <a:pt x="1608" y="244"/>
                </a:cubicBezTo>
                <a:cubicBezTo>
                  <a:pt x="1608" y="223"/>
                  <a:pt x="1608" y="223"/>
                  <a:pt x="1608" y="223"/>
                </a:cubicBezTo>
                <a:cubicBezTo>
                  <a:pt x="1595" y="233"/>
                  <a:pt x="1580" y="238"/>
                  <a:pt x="1564" y="238"/>
                </a:cubicBezTo>
                <a:cubicBezTo>
                  <a:pt x="1549" y="238"/>
                  <a:pt x="1538" y="234"/>
                  <a:pt x="1530" y="225"/>
                </a:cubicBezTo>
                <a:cubicBezTo>
                  <a:pt x="1521" y="217"/>
                  <a:pt x="1517" y="204"/>
                  <a:pt x="1517" y="188"/>
                </a:cubicBezTo>
                <a:cubicBezTo>
                  <a:pt x="1618" y="188"/>
                  <a:pt x="1618" y="188"/>
                  <a:pt x="1618" y="188"/>
                </a:cubicBezTo>
                <a:lnTo>
                  <a:pt x="1618" y="176"/>
                </a:lnTo>
                <a:close/>
                <a:moveTo>
                  <a:pt x="1517" y="169"/>
                </a:moveTo>
                <a:cubicBezTo>
                  <a:pt x="1519" y="156"/>
                  <a:pt x="1524" y="146"/>
                  <a:pt x="1531" y="138"/>
                </a:cubicBezTo>
                <a:cubicBezTo>
                  <a:pt x="1539" y="130"/>
                  <a:pt x="1548" y="127"/>
                  <a:pt x="1559" y="127"/>
                </a:cubicBezTo>
                <a:cubicBezTo>
                  <a:pt x="1570" y="127"/>
                  <a:pt x="1579" y="130"/>
                  <a:pt x="1585" y="138"/>
                </a:cubicBezTo>
                <a:cubicBezTo>
                  <a:pt x="1591" y="145"/>
                  <a:pt x="1595" y="155"/>
                  <a:pt x="1595" y="169"/>
                </a:cubicBezTo>
                <a:lnTo>
                  <a:pt x="1517" y="16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2083637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 presetClass="exit" presetSubtype="0" fill="hold" nodeType="withEffect">
                                  <p:stCondLst>
                                    <p:cond delay="0"/>
                                  </p:stCondLst>
                                  <p:childTnLst>
                                    <p:set>
                                      <p:cBhvr>
                                        <p:cTn id="13" dur="1" fill="hold">
                                          <p:stCondLst>
                                            <p:cond delay="0"/>
                                          </p:stCondLst>
                                        </p:cTn>
                                        <p:tgtEl>
                                          <p:spTgt spid="3"/>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 presetClass="exit" presetSubtype="0" fill="hold" grpId="1" nodeType="withEffect">
                                  <p:stCondLst>
                                    <p:cond delay="0"/>
                                  </p:stCondLst>
                                  <p:childTnLst>
                                    <p:set>
                                      <p:cBhvr>
                                        <p:cTn id="24" dur="1" fill="hold">
                                          <p:stCondLst>
                                            <p:cond delay="0"/>
                                          </p:stCondLst>
                                        </p:cTn>
                                        <p:tgtEl>
                                          <p:spTgt spid="4"/>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2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10" grpId="0"/>
      <p:bldP spid="1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8381603" y="5775822"/>
            <a:ext cx="3534567" cy="572438"/>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2800">
                <a:solidFill>
                  <a:srgbClr val="FFFFFF"/>
                </a:solidFill>
                <a:latin typeface="Segoe UI Semibold" panose="020B0702040204020203" pitchFamily="34" charset="0"/>
                <a:cs typeface="Segoe UI Semibold" panose="020B0702040204020203" pitchFamily="34" charset="0"/>
              </a:rPr>
              <a:t>End User BI</a:t>
            </a:r>
            <a:endParaRPr sz="3600">
              <a:solidFill>
                <a:srgbClr val="FFFFFF"/>
              </a:solidFill>
              <a:latin typeface="Segoe UI Semibold" panose="020B0702040204020203" pitchFamily="34" charset="0"/>
              <a:cs typeface="Segoe UI Semibold" panose="020B0702040204020203" pitchFamily="34" charset="0"/>
            </a:endParaRPr>
          </a:p>
        </p:txBody>
      </p:sp>
      <p:sp>
        <p:nvSpPr>
          <p:cNvPr id="14" name="Oval 13"/>
          <p:cNvSpPr/>
          <p:nvPr/>
        </p:nvSpPr>
        <p:spPr bwMode="auto">
          <a:xfrm>
            <a:off x="8541115" y="5742047"/>
            <a:ext cx="3215545" cy="312691"/>
          </a:xfrm>
          <a:prstGeom prst="ellipse">
            <a:avLst/>
          </a:prstGeom>
          <a:gradFill flip="none" rotWithShape="1">
            <a:gsLst>
              <a:gs pos="1000">
                <a:srgbClr val="000000">
                  <a:alpha val="15000"/>
                </a:srgbClr>
              </a:gs>
              <a:gs pos="100000">
                <a:srgbClr val="000000">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txBox="1">
            <a:spLocks/>
          </p:cNvSpPr>
          <p:nvPr/>
        </p:nvSpPr>
        <p:spPr>
          <a:xfrm>
            <a:off x="480827" y="5775822"/>
            <a:ext cx="3530573" cy="572438"/>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2800">
                <a:solidFill>
                  <a:srgbClr val="FFFFFF"/>
                </a:solidFill>
                <a:latin typeface="Segoe UI Semibold" panose="020B0702040204020203" pitchFamily="34" charset="0"/>
                <a:cs typeface="Segoe UI Semibold" panose="020B0702040204020203" pitchFamily="34" charset="0"/>
              </a:rPr>
              <a:t>Technical BI</a:t>
            </a:r>
          </a:p>
        </p:txBody>
      </p:sp>
      <p:sp>
        <p:nvSpPr>
          <p:cNvPr id="13" name="Oval 12"/>
          <p:cNvSpPr/>
          <p:nvPr/>
        </p:nvSpPr>
        <p:spPr bwMode="auto">
          <a:xfrm>
            <a:off x="638342" y="5742047"/>
            <a:ext cx="3215545" cy="312691"/>
          </a:xfrm>
          <a:prstGeom prst="ellipse">
            <a:avLst/>
          </a:prstGeom>
          <a:gradFill flip="none" rotWithShape="1">
            <a:gsLst>
              <a:gs pos="1000">
                <a:srgbClr val="000000">
                  <a:alpha val="15000"/>
                </a:srgbClr>
              </a:gs>
              <a:gs pos="100000">
                <a:srgbClr val="000000">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txBox="1">
            <a:spLocks/>
          </p:cNvSpPr>
          <p:nvPr/>
        </p:nvSpPr>
        <p:spPr>
          <a:xfrm>
            <a:off x="4450954" y="5775822"/>
            <a:ext cx="3534567" cy="572438"/>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2800">
                <a:solidFill>
                  <a:srgbClr val="FFFFFF"/>
                </a:solidFill>
                <a:latin typeface="Segoe UI Semibold" panose="020B0702040204020203" pitchFamily="34" charset="0"/>
                <a:cs typeface="Segoe UI Semibold" panose="020B0702040204020203" pitchFamily="34" charset="0"/>
              </a:rPr>
              <a:t>Self Service BI</a:t>
            </a:r>
          </a:p>
        </p:txBody>
      </p:sp>
      <p:grpSp>
        <p:nvGrpSpPr>
          <p:cNvPr id="24" name="Group 23"/>
          <p:cNvGrpSpPr/>
          <p:nvPr/>
        </p:nvGrpSpPr>
        <p:grpSpPr>
          <a:xfrm>
            <a:off x="5158755" y="1668462"/>
            <a:ext cx="2507282" cy="2652364"/>
            <a:chOff x="8911126" y="2526744"/>
            <a:chExt cx="2077604" cy="2077604"/>
          </a:xfrm>
        </p:grpSpPr>
        <p:sp>
          <p:nvSpPr>
            <p:cNvPr id="20" name="Oval 19"/>
            <p:cNvSpPr/>
            <p:nvPr/>
          </p:nvSpPr>
          <p:spPr bwMode="auto">
            <a:xfrm>
              <a:off x="8911126" y="2526744"/>
              <a:ext cx="2077604" cy="2077604"/>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13"/>
            <p:cNvSpPr>
              <a:spLocks noChangeAspect="1" noEditPoints="1"/>
            </p:cNvSpPr>
            <p:nvPr/>
          </p:nvSpPr>
          <p:spPr bwMode="auto">
            <a:xfrm>
              <a:off x="10080015" y="3138919"/>
              <a:ext cx="723334" cy="733850"/>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73" name="Freeform 25"/>
            <p:cNvSpPr>
              <a:spLocks noChangeAspect="1" noEditPoints="1"/>
            </p:cNvSpPr>
            <p:nvPr/>
          </p:nvSpPr>
          <p:spPr bwMode="auto">
            <a:xfrm>
              <a:off x="9593601" y="2721065"/>
              <a:ext cx="682142" cy="73385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88" name="Freeform 5"/>
            <p:cNvSpPr>
              <a:spLocks noChangeAspect="1" noEditPoints="1"/>
            </p:cNvSpPr>
            <p:nvPr/>
          </p:nvSpPr>
          <p:spPr bwMode="auto">
            <a:xfrm>
              <a:off x="9095090" y="3138919"/>
              <a:ext cx="696524" cy="731520"/>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nvGrpSpPr>
            <p:cNvPr id="106" name="Group 4"/>
            <p:cNvGrpSpPr>
              <a:grpSpLocks/>
            </p:cNvGrpSpPr>
            <p:nvPr/>
          </p:nvGrpSpPr>
          <p:grpSpPr bwMode="auto">
            <a:xfrm>
              <a:off x="9597810" y="3588703"/>
              <a:ext cx="685800" cy="731520"/>
              <a:chOff x="3730" y="2047"/>
              <a:chExt cx="220" cy="226"/>
            </a:xfrm>
          </p:grpSpPr>
          <p:sp>
            <p:nvSpPr>
              <p:cNvPr id="107" name="AutoShape 3"/>
              <p:cNvSpPr>
                <a:spLocks noChangeAspect="1" noChangeArrowheads="1" noTextEdit="1"/>
              </p:cNvSpPr>
              <p:nvPr/>
            </p:nvSpPr>
            <p:spPr bwMode="auto">
              <a:xfrm>
                <a:off x="3730" y="2047"/>
                <a:ext cx="22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8" name="Oval 5"/>
              <p:cNvSpPr>
                <a:spLocks noChangeArrowheads="1"/>
              </p:cNvSpPr>
              <p:nvPr/>
            </p:nvSpPr>
            <p:spPr bwMode="auto">
              <a:xfrm>
                <a:off x="3798" y="2049"/>
                <a:ext cx="88" cy="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9" name="Freeform 6"/>
              <p:cNvSpPr>
                <a:spLocks noEditPoints="1"/>
              </p:cNvSpPr>
              <p:nvPr/>
            </p:nvSpPr>
            <p:spPr bwMode="auto">
              <a:xfrm>
                <a:off x="3838"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10"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grpSp>
      </p:grpSp>
      <p:sp>
        <p:nvSpPr>
          <p:cNvPr id="4" name="TextBox 3"/>
          <p:cNvSpPr txBox="1"/>
          <p:nvPr/>
        </p:nvSpPr>
        <p:spPr>
          <a:xfrm>
            <a:off x="1356678" y="206942"/>
            <a:ext cx="9723119" cy="960263"/>
          </a:xfrm>
          <a:prstGeom prst="rect">
            <a:avLst/>
          </a:prstGeom>
          <a:noFill/>
        </p:spPr>
        <p:txBody>
          <a:bodyPr wrap="square" lIns="182880" tIns="146304" rIns="182880" bIns="146304" rtlCol="0">
            <a:spAutoFit/>
          </a:bodyPr>
          <a:lstStyle/>
          <a:p>
            <a:pPr algn="ctr">
              <a:lnSpc>
                <a:spcPct val="90000"/>
              </a:lnSpc>
              <a:spcAft>
                <a:spcPts val="600"/>
              </a:spcAft>
            </a:pPr>
            <a:r>
              <a:rPr lang="en-US" sz="4800" dirty="0" smtClean="0">
                <a:solidFill>
                  <a:srgbClr val="FFFFFF"/>
                </a:solidFill>
              </a:rPr>
              <a:t>3</a:t>
            </a:r>
            <a:r>
              <a:rPr lang="en-US" sz="4800" baseline="30000" dirty="0" smtClean="0">
                <a:solidFill>
                  <a:srgbClr val="FFFFFF"/>
                </a:solidFill>
              </a:rPr>
              <a:t>rd</a:t>
            </a:r>
            <a:r>
              <a:rPr lang="en-US" sz="4800" dirty="0" smtClean="0">
                <a:solidFill>
                  <a:srgbClr val="FFFFFF"/>
                </a:solidFill>
              </a:rPr>
              <a:t> Wave of BI: Everyone</a:t>
            </a:r>
          </a:p>
        </p:txBody>
      </p:sp>
      <p:sp>
        <p:nvSpPr>
          <p:cNvPr id="5" name="Cross 4"/>
          <p:cNvSpPr/>
          <p:nvPr/>
        </p:nvSpPr>
        <p:spPr bwMode="auto">
          <a:xfrm>
            <a:off x="3763004" y="5775822"/>
            <a:ext cx="687950" cy="646870"/>
          </a:xfrm>
          <a:prstGeom prst="plus">
            <a:avLst>
              <a:gd name="adj" fmla="val 41263"/>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48" name="Cross 47"/>
          <p:cNvSpPr/>
          <p:nvPr/>
        </p:nvSpPr>
        <p:spPr bwMode="auto">
          <a:xfrm>
            <a:off x="8117384" y="5745992"/>
            <a:ext cx="687950" cy="646870"/>
          </a:xfrm>
          <a:prstGeom prst="plus">
            <a:avLst>
              <a:gd name="adj" fmla="val 41263"/>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4110771353"/>
      </p:ext>
    </p:extLst>
  </p:cSld>
  <p:clrMapOvr>
    <a:masterClrMapping/>
  </p:clrMapOvr>
  <p:transition spd="slow">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15974" y="4269002"/>
            <a:ext cx="10804526" cy="1514261"/>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4800">
                <a:solidFill>
                  <a:srgbClr val="FFFFFF"/>
                </a:solidFill>
                <a:latin typeface="Segoe UI Semibold" panose="020B0702040204020203" pitchFamily="34" charset="0"/>
                <a:cs typeface="Segoe UI Semibold" panose="020B0702040204020203" pitchFamily="34" charset="0"/>
              </a:rPr>
              <a:t>BI </a:t>
            </a:r>
            <a:r>
              <a:rPr sz="4800">
                <a:solidFill>
                  <a:srgbClr val="FFFFFF"/>
                </a:solidFill>
              </a:rPr>
              <a:t>on your</a:t>
            </a:r>
            <a:br>
              <a:rPr sz="4800">
                <a:solidFill>
                  <a:srgbClr val="FFFFFF"/>
                </a:solidFill>
              </a:rPr>
            </a:br>
            <a:r>
              <a:rPr sz="4800" b="1">
                <a:solidFill>
                  <a:srgbClr val="FFFFFF"/>
                </a:solidFill>
                <a:latin typeface="Segoe UI Semibold" panose="020B0702040204020203" pitchFamily="34" charset="0"/>
                <a:cs typeface="Segoe UI Semibold" panose="020B0702040204020203" pitchFamily="34" charset="0"/>
              </a:rPr>
              <a:t>terms</a:t>
            </a:r>
          </a:p>
        </p:txBody>
      </p:sp>
      <p:sp>
        <p:nvSpPr>
          <p:cNvPr id="7" name="Oval 6"/>
          <p:cNvSpPr/>
          <p:nvPr/>
        </p:nvSpPr>
        <p:spPr bwMode="auto">
          <a:xfrm>
            <a:off x="4610237" y="6196762"/>
            <a:ext cx="3216001" cy="312736"/>
          </a:xfrm>
          <a:prstGeom prst="ellipse">
            <a:avLst/>
          </a:prstGeom>
          <a:gradFill flip="none" rotWithShape="1">
            <a:gsLst>
              <a:gs pos="1000">
                <a:srgbClr val="000000">
                  <a:alpha val="15000"/>
                </a:srgbClr>
              </a:gs>
              <a:gs pos="100000">
                <a:srgbClr val="000000">
                  <a:alpha val="0"/>
                </a:srgbClr>
              </a:gs>
            </a:gsLst>
            <a:path path="shap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rgbClr val="FFFFFF"/>
              </a:solidFill>
              <a:ea typeface="Segoe UI" pitchFamily="34" charset="0"/>
              <a:cs typeface="Segoe UI" pitchFamily="34" charset="0"/>
            </a:endParaRPr>
          </a:p>
        </p:txBody>
      </p:sp>
      <p:pic>
        <p:nvPicPr>
          <p:cNvPr id="6" name="Picture 5"/>
          <p:cNvPicPr>
            <a:picLocks/>
          </p:cNvPicPr>
          <p:nvPr/>
        </p:nvPicPr>
        <p:blipFill rotWithShape="1">
          <a:blip r:embed="rId2">
            <a:extLst>
              <a:ext uri="{28A0092B-C50C-407E-A947-70E740481C1C}">
                <a14:useLocalDpi xmlns:a14="http://schemas.microsoft.com/office/drawing/2010/main" val="0"/>
              </a:ext>
            </a:extLst>
          </a:blip>
          <a:srcRect l="12760" t="9709" r="12760" b="9709"/>
          <a:stretch/>
        </p:blipFill>
        <p:spPr>
          <a:xfrm>
            <a:off x="4599289" y="712192"/>
            <a:ext cx="3236976" cy="3236976"/>
          </a:xfrm>
          <a:prstGeom prst="ellipse">
            <a:avLst/>
          </a:prstGeom>
        </p:spPr>
      </p:pic>
    </p:spTree>
    <p:extLst>
      <p:ext uri="{BB962C8B-B14F-4D97-AF65-F5344CB8AC3E}">
        <p14:creationId xmlns:p14="http://schemas.microsoft.com/office/powerpoint/2010/main" val="2043891690"/>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850"/>
                                        <p:tgtEl>
                                          <p:spTgt spid="5"/>
                                        </p:tgtEl>
                                      </p:cBhvr>
                                    </p:animEffect>
                                  </p:childTnLst>
                                </p:cTn>
                              </p:par>
                              <p:par>
                                <p:cTn id="8" presetID="42" presetClass="path" presetSubtype="0" decel="100000" fill="hold" grpId="1" nodeType="withEffect">
                                  <p:stCondLst>
                                    <p:cond delay="500"/>
                                  </p:stCondLst>
                                  <p:childTnLst>
                                    <p:animMotion origin="layout" path="M 0 4.40763E-6 L 0 0.10826 " pathEditMode="relative" rAng="0" ptsTypes="AA">
                                      <p:cBhvr>
                                        <p:cTn id="9" dur="850" spd="-100000" fill="hold"/>
                                        <p:tgtEl>
                                          <p:spTgt spid="5"/>
                                        </p:tgtEl>
                                        <p:attrNameLst>
                                          <p:attrName>ppt_x</p:attrName>
                                          <p:attrName>ppt_y</p:attrName>
                                        </p:attrNameLst>
                                      </p:cBhvr>
                                      <p:rCtr x="0" y="5402"/>
                                    </p:animMotion>
                                  </p:childTnLst>
                                </p:cTn>
                              </p:par>
                              <p:par>
                                <p:cTn id="10" presetID="10" presetClass="entr" presetSubtype="0" fill="hold" grpId="0" nodeType="withEffect">
                                  <p:stCondLst>
                                    <p:cond delay="100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800"/>
                                        <p:tgtEl>
                                          <p:spTgt spid="7"/>
                                        </p:tgtEl>
                                      </p:cBhvr>
                                    </p:animEffect>
                                  </p:childTnLst>
                                </p:cTn>
                              </p:par>
                              <p:par>
                                <p:cTn id="13" presetID="10" presetClass="entr" presetSubtype="0" fill="hold" nodeType="withEffect">
                                  <p:stCondLst>
                                    <p:cond delay="7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700"/>
                                        <p:tgtEl>
                                          <p:spTgt spid="6"/>
                                        </p:tgtEl>
                                      </p:cBhvr>
                                    </p:animEffect>
                                  </p:childTnLst>
                                </p:cTn>
                              </p:par>
                              <p:par>
                                <p:cTn id="16" presetID="6" presetClass="emph" presetSubtype="0" accel="100000" autoRev="1" fill="hold" nodeType="withEffect">
                                  <p:stCondLst>
                                    <p:cond delay="0"/>
                                  </p:stCondLst>
                                  <p:childTnLst>
                                    <p:animScale>
                                      <p:cBhvr>
                                        <p:cTn id="17" dur="700" fill="hold"/>
                                        <p:tgtEl>
                                          <p:spTgt spid="6"/>
                                        </p:tgtEl>
                                      </p:cBhvr>
                                      <p:by x="90000" y="9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098762"/>
          </a:xfrm>
        </p:spPr>
        <p:txBody>
          <a:bodyPr/>
          <a:lstStyle/>
          <a:p>
            <a:r>
              <a:rPr lang="en-US" sz="6600" dirty="0" smtClean="0"/>
              <a:t>Empowering IT &amp; BI Pro</a:t>
            </a:r>
            <a:endParaRPr lang="en-US" sz="6600" dirty="0"/>
          </a:p>
        </p:txBody>
      </p:sp>
    </p:spTree>
    <p:extLst>
      <p:ext uri="{BB962C8B-B14F-4D97-AF65-F5344CB8AC3E}">
        <p14:creationId xmlns:p14="http://schemas.microsoft.com/office/powerpoint/2010/main" val="447736626"/>
      </p:ext>
    </p:extLst>
  </p:cSld>
  <p:clrMapOvr>
    <a:masterClrMapping/>
  </p:clrMapOvr>
  <p:transition spd="slow">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280663" y="302807"/>
            <a:ext cx="12126254" cy="935842"/>
          </a:xfrm>
          <a:prstGeom prst="rect">
            <a:avLst/>
          </a:prstGeom>
        </p:spPr>
        <p:txBody>
          <a:bodyPr/>
          <a:lstStyle>
            <a:lvl1pPr algn="l" defTabSz="914098"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endParaRPr sz="4488">
              <a:gradFill flip="none" rotWithShape="1">
                <a:gsLst>
                  <a:gs pos="0">
                    <a:srgbClr val="292929"/>
                  </a:gs>
                  <a:gs pos="86000">
                    <a:srgbClr val="292929"/>
                  </a:gs>
                </a:gsLst>
                <a:lin ang="5400000" scaled="0"/>
                <a:tileRect/>
              </a:gradFill>
            </a:endParaRPr>
          </a:p>
        </p:txBody>
      </p:sp>
      <p:sp>
        <p:nvSpPr>
          <p:cNvPr id="15" name="Title 27"/>
          <p:cNvSpPr txBox="1">
            <a:spLocks/>
          </p:cNvSpPr>
          <p:nvPr/>
        </p:nvSpPr>
        <p:spPr>
          <a:xfrm>
            <a:off x="682065" y="385565"/>
            <a:ext cx="11375536" cy="621531"/>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a:gradFill>
                <a:gsLst>
                  <a:gs pos="1250">
                    <a:srgbClr val="FFFFFF"/>
                  </a:gs>
                  <a:gs pos="100000">
                    <a:srgbClr val="FFFFFF"/>
                  </a:gs>
                </a:gsLst>
                <a:lin ang="5400000" scaled="0"/>
              </a:gradFill>
            </a:endParaRPr>
          </a:p>
        </p:txBody>
      </p:sp>
      <p:sp>
        <p:nvSpPr>
          <p:cNvPr id="99" name="Title 2"/>
          <p:cNvSpPr>
            <a:spLocks noGrp="1"/>
          </p:cNvSpPr>
          <p:nvPr>
            <p:ph type="title"/>
          </p:nvPr>
        </p:nvSpPr>
        <p:spPr>
          <a:xfrm>
            <a:off x="-21869" y="2499894"/>
            <a:ext cx="4792306" cy="1472228"/>
          </a:xfrm>
        </p:spPr>
        <p:txBody>
          <a:bodyPr/>
          <a:lstStyle/>
          <a:p>
            <a:pPr lvl="0"/>
            <a:r>
              <a:rPr lang="en-US" dirty="0" smtClean="0"/>
              <a:t>SQL Server </a:t>
            </a:r>
            <a:br>
              <a:rPr lang="en-US" dirty="0" smtClean="0"/>
            </a:br>
            <a:r>
              <a:rPr lang="en-US" sz="3600" dirty="0" smtClean="0">
                <a:solidFill>
                  <a:schemeClr val="tx1"/>
                </a:solidFill>
              </a:rPr>
              <a:t>BI</a:t>
            </a:r>
            <a:r>
              <a:rPr lang="en-US" dirty="0"/>
              <a:t> </a:t>
            </a:r>
            <a:r>
              <a:rPr lang="en-US" sz="3600" dirty="0">
                <a:solidFill>
                  <a:schemeClr val="tx1"/>
                </a:solidFill>
              </a:rPr>
              <a:t>c</a:t>
            </a:r>
            <a:r>
              <a:rPr lang="en-US" sz="3600" dirty="0" smtClean="0">
                <a:solidFill>
                  <a:schemeClr val="tx1"/>
                </a:solidFill>
              </a:rPr>
              <a:t>ore investment areas</a:t>
            </a:r>
            <a:endParaRPr lang="en-US" sz="3600" dirty="0">
              <a:solidFill>
                <a:schemeClr val="tx1"/>
              </a:solidFill>
            </a:endParaRPr>
          </a:p>
        </p:txBody>
      </p:sp>
      <p:sp>
        <p:nvSpPr>
          <p:cNvPr id="40" name="Rectangle 39"/>
          <p:cNvSpPr/>
          <p:nvPr/>
        </p:nvSpPr>
        <p:spPr>
          <a:xfrm>
            <a:off x="6523037" y="3556969"/>
            <a:ext cx="2102057" cy="21031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b" anchorCtr="0" compatLnSpc="1">
            <a:prstTxWarp prst="textNoShape">
              <a:avLst/>
            </a:prstTxWarp>
          </a:bodyPr>
          <a:lstStyle/>
          <a:p>
            <a:pPr defTabSz="932398" fontAlgn="base">
              <a:spcBef>
                <a:spcPct val="0"/>
              </a:spcBef>
              <a:spcAft>
                <a:spcPct val="0"/>
              </a:spcAft>
            </a:pPr>
            <a:r>
              <a:rPr lang="en-US" sz="2800" dirty="0">
                <a:gradFill>
                  <a:gsLst>
                    <a:gs pos="2917">
                      <a:srgbClr val="FFFFFF"/>
                    </a:gs>
                    <a:gs pos="30000">
                      <a:srgbClr val="FFFFFF"/>
                    </a:gs>
                  </a:gsLst>
                  <a:lin ang="5400000" scaled="0"/>
                </a:gradFill>
                <a:latin typeface="Segoe UI Light"/>
              </a:rPr>
              <a:t>Enhanced </a:t>
            </a:r>
            <a:r>
              <a:rPr lang="en-US" sz="2800" dirty="0" smtClean="0">
                <a:gradFill>
                  <a:gsLst>
                    <a:gs pos="2917">
                      <a:srgbClr val="FFFFFF"/>
                    </a:gs>
                    <a:gs pos="30000">
                      <a:srgbClr val="FFFFFF"/>
                    </a:gs>
                  </a:gsLst>
                  <a:lin ang="5400000" scaled="0"/>
                </a:gradFill>
                <a:latin typeface="Segoe UI Light"/>
              </a:rPr>
              <a:t/>
            </a:r>
            <a:br>
              <a:rPr lang="en-US" sz="2800" dirty="0" smtClean="0">
                <a:gradFill>
                  <a:gsLst>
                    <a:gs pos="2917">
                      <a:srgbClr val="FFFFFF"/>
                    </a:gs>
                    <a:gs pos="30000">
                      <a:srgbClr val="FFFFFF"/>
                    </a:gs>
                  </a:gsLst>
                  <a:lin ang="5400000" scaled="0"/>
                </a:gradFill>
                <a:latin typeface="Segoe UI Light"/>
              </a:rPr>
            </a:br>
            <a:r>
              <a:rPr lang="en-US" sz="2800" dirty="0" smtClean="0">
                <a:gradFill>
                  <a:gsLst>
                    <a:gs pos="2917">
                      <a:srgbClr val="FFFFFF"/>
                    </a:gs>
                    <a:gs pos="30000">
                      <a:srgbClr val="FFFFFF"/>
                    </a:gs>
                  </a:gsLst>
                  <a:lin ang="5400000" scaled="0"/>
                </a:gradFill>
                <a:latin typeface="Segoe UI Light"/>
              </a:rPr>
              <a:t>analysis</a:t>
            </a:r>
            <a:endParaRPr lang="en-US" sz="2800" dirty="0">
              <a:gradFill>
                <a:gsLst>
                  <a:gs pos="2917">
                    <a:srgbClr val="FFFFFF"/>
                  </a:gs>
                  <a:gs pos="30000">
                    <a:srgbClr val="FFFFFF"/>
                  </a:gs>
                </a:gsLst>
                <a:lin ang="5400000" scaled="0"/>
              </a:gradFill>
              <a:latin typeface="Segoe UI Light"/>
            </a:endParaRPr>
          </a:p>
        </p:txBody>
      </p:sp>
      <p:sp>
        <p:nvSpPr>
          <p:cNvPr id="68" name="Freeform 23"/>
          <p:cNvSpPr>
            <a:spLocks noEditPoints="1"/>
          </p:cNvSpPr>
          <p:nvPr/>
        </p:nvSpPr>
        <p:spPr bwMode="black">
          <a:xfrm>
            <a:off x="7171468" y="4018800"/>
            <a:ext cx="538591" cy="53361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tx1"/>
          </a:solidFill>
          <a:ln>
            <a:noFill/>
          </a:ln>
        </p:spPr>
        <p:txBody>
          <a:bodyPr vert="horz" wrap="square" lIns="82281" tIns="41141" rIns="82281" bIns="41141" numCol="1" anchor="t" anchorCtr="0" compatLnSpc="1">
            <a:prstTxWarp prst="textNoShape">
              <a:avLst/>
            </a:prstTxWarp>
          </a:bodyPr>
          <a:lstStyle/>
          <a:p>
            <a:pPr defTabSz="932384"/>
            <a:endParaRPr lang="en-US" sz="1598" dirty="0">
              <a:ln>
                <a:solidFill>
                  <a:srgbClr val="FFFFFF">
                    <a:alpha val="0"/>
                  </a:srgbClr>
                </a:solidFill>
              </a:ln>
              <a:solidFill>
                <a:srgbClr val="000000"/>
              </a:solidFill>
            </a:endParaRPr>
          </a:p>
        </p:txBody>
      </p:sp>
      <p:sp>
        <p:nvSpPr>
          <p:cNvPr id="81" name="Rectangle 80"/>
          <p:cNvSpPr/>
          <p:nvPr/>
        </p:nvSpPr>
        <p:spPr>
          <a:xfrm>
            <a:off x="6523037" y="1364739"/>
            <a:ext cx="2102057" cy="2103120"/>
          </a:xfrm>
          <a:prstGeom prst="rect">
            <a:avLst/>
          </a:prstGeom>
          <a:solidFill>
            <a:schemeClr val="accent3"/>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r>
              <a:rPr lang="en-US" sz="2800" dirty="0">
                <a:gradFill>
                  <a:gsLst>
                    <a:gs pos="2917">
                      <a:srgbClr val="FFFFFF"/>
                    </a:gs>
                    <a:gs pos="30000">
                      <a:srgbClr val="FFFFFF"/>
                    </a:gs>
                  </a:gsLst>
                  <a:lin ang="5400000" scaled="0"/>
                </a:gradFill>
                <a:latin typeface="Segoe UI Light"/>
              </a:rPr>
              <a:t>Hybrid </a:t>
            </a:r>
            <a:r>
              <a:rPr lang="en-US" sz="2800" dirty="0" smtClean="0">
                <a:gradFill>
                  <a:gsLst>
                    <a:gs pos="2917">
                      <a:srgbClr val="FFFFFF"/>
                    </a:gs>
                    <a:gs pos="30000">
                      <a:srgbClr val="FFFFFF"/>
                    </a:gs>
                  </a:gsLst>
                  <a:lin ang="5400000" scaled="0"/>
                </a:gradFill>
                <a:latin typeface="Segoe UI Light"/>
              </a:rPr>
              <a:t>BI</a:t>
            </a:r>
            <a:endParaRPr lang="en-US" sz="2800" dirty="0">
              <a:gradFill>
                <a:gsLst>
                  <a:gs pos="2917">
                    <a:srgbClr val="FFFFFF"/>
                  </a:gs>
                  <a:gs pos="30000">
                    <a:srgbClr val="FFFFFF"/>
                  </a:gs>
                </a:gsLst>
                <a:lin ang="5400000" scaled="0"/>
              </a:gradFill>
              <a:latin typeface="Segoe UI Light"/>
            </a:endParaRPr>
          </a:p>
        </p:txBody>
      </p:sp>
      <p:grpSp>
        <p:nvGrpSpPr>
          <p:cNvPr id="98" name="Group 97"/>
          <p:cNvGrpSpPr/>
          <p:nvPr/>
        </p:nvGrpSpPr>
        <p:grpSpPr>
          <a:xfrm>
            <a:off x="6825172" y="1577043"/>
            <a:ext cx="1274392" cy="816705"/>
            <a:chOff x="714199" y="4984339"/>
            <a:chExt cx="1389288" cy="890337"/>
          </a:xfrm>
        </p:grpSpPr>
        <p:grpSp>
          <p:nvGrpSpPr>
            <p:cNvPr id="84" name="Group 83"/>
            <p:cNvGrpSpPr>
              <a:grpSpLocks noChangeAspect="1"/>
            </p:cNvGrpSpPr>
            <p:nvPr/>
          </p:nvGrpSpPr>
          <p:grpSpPr>
            <a:xfrm>
              <a:off x="714199" y="5456318"/>
              <a:ext cx="749210" cy="403857"/>
              <a:chOff x="1521227" y="5644283"/>
              <a:chExt cx="1894550" cy="1021243"/>
            </a:xfrm>
          </p:grpSpPr>
          <p:sp>
            <p:nvSpPr>
              <p:cNvPr id="78" name="Freeform 77"/>
              <p:cNvSpPr>
                <a:spLocks noEditPoints="1"/>
              </p:cNvSpPr>
              <p:nvPr/>
            </p:nvSpPr>
            <p:spPr bwMode="auto">
              <a:xfrm>
                <a:off x="2043556" y="5644283"/>
                <a:ext cx="378925" cy="1021242"/>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800">
                  <a:solidFill>
                    <a:srgbClr val="000000"/>
                  </a:solidFill>
                </a:endParaRPr>
              </a:p>
            </p:txBody>
          </p:sp>
          <p:sp>
            <p:nvSpPr>
              <p:cNvPr id="79" name="Freeform 78"/>
              <p:cNvSpPr>
                <a:spLocks noEditPoints="1"/>
              </p:cNvSpPr>
              <p:nvPr/>
            </p:nvSpPr>
            <p:spPr bwMode="auto">
              <a:xfrm>
                <a:off x="3036852" y="5866090"/>
                <a:ext cx="378925" cy="799435"/>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800">
                  <a:solidFill>
                    <a:srgbClr val="000000"/>
                  </a:solidFill>
                </a:endParaRPr>
              </a:p>
            </p:txBody>
          </p:sp>
          <p:sp>
            <p:nvSpPr>
              <p:cNvPr id="80" name="Freeform 79"/>
              <p:cNvSpPr>
                <a:spLocks noEditPoints="1"/>
              </p:cNvSpPr>
              <p:nvPr/>
            </p:nvSpPr>
            <p:spPr bwMode="auto">
              <a:xfrm>
                <a:off x="2513373" y="5783333"/>
                <a:ext cx="427445" cy="868749"/>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800">
                  <a:solidFill>
                    <a:srgbClr val="000000"/>
                  </a:solidFill>
                </a:endParaRPr>
              </a:p>
            </p:txBody>
          </p:sp>
          <p:sp>
            <p:nvSpPr>
              <p:cNvPr id="77" name="Freeform 76"/>
              <p:cNvSpPr>
                <a:spLocks noEditPoints="1"/>
              </p:cNvSpPr>
              <p:nvPr/>
            </p:nvSpPr>
            <p:spPr bwMode="auto">
              <a:xfrm>
                <a:off x="1521227" y="5644285"/>
                <a:ext cx="425135" cy="1021241"/>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chemeClr val="tx1"/>
              </a:solidFill>
              <a:ln>
                <a:noFill/>
              </a:ln>
              <a:extLst/>
            </p:spPr>
            <p:txBody>
              <a:bodyPr vert="horz" wrap="square" lIns="89617" tIns="44808" rIns="89617" bIns="44808"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sz="2800">
                  <a:solidFill>
                    <a:srgbClr val="000000"/>
                  </a:solidFill>
                </a:endParaRPr>
              </a:p>
            </p:txBody>
          </p:sp>
        </p:grpSp>
        <p:sp>
          <p:nvSpPr>
            <p:cNvPr id="90" name="Freeform 121"/>
            <p:cNvSpPr>
              <a:spLocks noChangeAspect="1"/>
            </p:cNvSpPr>
            <p:nvPr/>
          </p:nvSpPr>
          <p:spPr bwMode="black">
            <a:xfrm>
              <a:off x="771026" y="5074916"/>
              <a:ext cx="228600" cy="307041"/>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91" name="Freeform 121"/>
            <p:cNvSpPr>
              <a:spLocks noChangeAspect="1"/>
            </p:cNvSpPr>
            <p:nvPr/>
          </p:nvSpPr>
          <p:spPr bwMode="black">
            <a:xfrm rot="8356067">
              <a:off x="1818200" y="5152655"/>
              <a:ext cx="228600" cy="307043"/>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96" name="Group 95"/>
            <p:cNvGrpSpPr>
              <a:grpSpLocks noChangeAspect="1"/>
            </p:cNvGrpSpPr>
            <p:nvPr/>
          </p:nvGrpSpPr>
          <p:grpSpPr>
            <a:xfrm>
              <a:off x="1646287" y="5585858"/>
              <a:ext cx="457200" cy="288818"/>
              <a:chOff x="1535603" y="5511803"/>
              <a:chExt cx="622317" cy="393124"/>
            </a:xfrm>
          </p:grpSpPr>
          <p:sp>
            <p:nvSpPr>
              <p:cNvPr id="92" name="Freeform 29"/>
              <p:cNvSpPr>
                <a:spLocks noChangeAspect="1" noEditPoints="1"/>
              </p:cNvSpPr>
              <p:nvPr/>
            </p:nvSpPr>
            <p:spPr bwMode="black">
              <a:xfrm>
                <a:off x="1535603" y="5511803"/>
                <a:ext cx="622317" cy="393124"/>
              </a:xfrm>
              <a:custGeom>
                <a:avLst/>
                <a:gdLst>
                  <a:gd name="T0" fmla="*/ 2248 w 2312"/>
                  <a:gd name="T1" fmla="*/ 0 h 1460"/>
                  <a:gd name="T2" fmla="*/ 64 w 2312"/>
                  <a:gd name="T3" fmla="*/ 0 h 1460"/>
                  <a:gd name="T4" fmla="*/ 0 w 2312"/>
                  <a:gd name="T5" fmla="*/ 64 h 1460"/>
                  <a:gd name="T6" fmla="*/ 0 w 2312"/>
                  <a:gd name="T7" fmla="*/ 1396 h 1460"/>
                  <a:gd name="T8" fmla="*/ 64 w 2312"/>
                  <a:gd name="T9" fmla="*/ 1460 h 1460"/>
                  <a:gd name="T10" fmla="*/ 2248 w 2312"/>
                  <a:gd name="T11" fmla="*/ 1460 h 1460"/>
                  <a:gd name="T12" fmla="*/ 2312 w 2312"/>
                  <a:gd name="T13" fmla="*/ 1396 h 1460"/>
                  <a:gd name="T14" fmla="*/ 2312 w 2312"/>
                  <a:gd name="T15" fmla="*/ 64 h 1460"/>
                  <a:gd name="T16" fmla="*/ 2248 w 2312"/>
                  <a:gd name="T17" fmla="*/ 0 h 1460"/>
                  <a:gd name="T18" fmla="*/ 1152 w 2312"/>
                  <a:gd name="T19" fmla="*/ 1409 h 1460"/>
                  <a:gd name="T20" fmla="*/ 1120 w 2312"/>
                  <a:gd name="T21" fmla="*/ 1404 h 1460"/>
                  <a:gd name="T22" fmla="*/ 1120 w 2312"/>
                  <a:gd name="T23" fmla="*/ 1377 h 1460"/>
                  <a:gd name="T24" fmla="*/ 1152 w 2312"/>
                  <a:gd name="T25" fmla="*/ 1377 h 1460"/>
                  <a:gd name="T26" fmla="*/ 1152 w 2312"/>
                  <a:gd name="T27" fmla="*/ 1409 h 1460"/>
                  <a:gd name="T28" fmla="*/ 1152 w 2312"/>
                  <a:gd name="T29" fmla="*/ 1374 h 1460"/>
                  <a:gd name="T30" fmla="*/ 1120 w 2312"/>
                  <a:gd name="T31" fmla="*/ 1374 h 1460"/>
                  <a:gd name="T32" fmla="*/ 1120 w 2312"/>
                  <a:gd name="T33" fmla="*/ 1347 h 1460"/>
                  <a:gd name="T34" fmla="*/ 1152 w 2312"/>
                  <a:gd name="T35" fmla="*/ 1342 h 1460"/>
                  <a:gd name="T36" fmla="*/ 1152 w 2312"/>
                  <a:gd name="T37" fmla="*/ 1374 h 1460"/>
                  <a:gd name="T38" fmla="*/ 1199 w 2312"/>
                  <a:gd name="T39" fmla="*/ 1415 h 1460"/>
                  <a:gd name="T40" fmla="*/ 1156 w 2312"/>
                  <a:gd name="T41" fmla="*/ 1409 h 1460"/>
                  <a:gd name="T42" fmla="*/ 1156 w 2312"/>
                  <a:gd name="T43" fmla="*/ 1377 h 1460"/>
                  <a:gd name="T44" fmla="*/ 1199 w 2312"/>
                  <a:gd name="T45" fmla="*/ 1377 h 1460"/>
                  <a:gd name="T46" fmla="*/ 1199 w 2312"/>
                  <a:gd name="T47" fmla="*/ 1415 h 1460"/>
                  <a:gd name="T48" fmla="*/ 1199 w 2312"/>
                  <a:gd name="T49" fmla="*/ 1374 h 1460"/>
                  <a:gd name="T50" fmla="*/ 1156 w 2312"/>
                  <a:gd name="T51" fmla="*/ 1374 h 1460"/>
                  <a:gd name="T52" fmla="*/ 1156 w 2312"/>
                  <a:gd name="T53" fmla="*/ 1342 h 1460"/>
                  <a:gd name="T54" fmla="*/ 1199 w 2312"/>
                  <a:gd name="T55" fmla="*/ 1336 h 1460"/>
                  <a:gd name="T56" fmla="*/ 1199 w 2312"/>
                  <a:gd name="T57" fmla="*/ 1374 h 1460"/>
                  <a:gd name="T58" fmla="*/ 2176 w 2312"/>
                  <a:gd name="T59" fmla="*/ 1301 h 1460"/>
                  <a:gd name="T60" fmla="*/ 136 w 2312"/>
                  <a:gd name="T61" fmla="*/ 1301 h 1460"/>
                  <a:gd name="T62" fmla="*/ 136 w 2312"/>
                  <a:gd name="T63" fmla="*/ 158 h 1460"/>
                  <a:gd name="T64" fmla="*/ 2176 w 2312"/>
                  <a:gd name="T65" fmla="*/ 158 h 1460"/>
                  <a:gd name="T66" fmla="*/ 2176 w 2312"/>
                  <a:gd name="T67" fmla="*/ 13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2" h="1460">
                    <a:moveTo>
                      <a:pt x="2248" y="0"/>
                    </a:moveTo>
                    <a:cubicBezTo>
                      <a:pt x="64" y="0"/>
                      <a:pt x="64" y="0"/>
                      <a:pt x="64" y="0"/>
                    </a:cubicBezTo>
                    <a:cubicBezTo>
                      <a:pt x="29" y="0"/>
                      <a:pt x="0" y="28"/>
                      <a:pt x="0" y="64"/>
                    </a:cubicBezTo>
                    <a:cubicBezTo>
                      <a:pt x="0" y="1396"/>
                      <a:pt x="0" y="1396"/>
                      <a:pt x="0" y="1396"/>
                    </a:cubicBezTo>
                    <a:cubicBezTo>
                      <a:pt x="0" y="1431"/>
                      <a:pt x="29" y="1460"/>
                      <a:pt x="64" y="1460"/>
                    </a:cubicBezTo>
                    <a:cubicBezTo>
                      <a:pt x="2248" y="1460"/>
                      <a:pt x="2248" y="1460"/>
                      <a:pt x="2248" y="1460"/>
                    </a:cubicBezTo>
                    <a:cubicBezTo>
                      <a:pt x="2283" y="1460"/>
                      <a:pt x="2312" y="1431"/>
                      <a:pt x="2312" y="1396"/>
                    </a:cubicBezTo>
                    <a:cubicBezTo>
                      <a:pt x="2312" y="64"/>
                      <a:pt x="2312" y="64"/>
                      <a:pt x="2312" y="64"/>
                    </a:cubicBezTo>
                    <a:cubicBezTo>
                      <a:pt x="2312" y="28"/>
                      <a:pt x="2283" y="0"/>
                      <a:pt x="2248" y="0"/>
                    </a:cubicBezTo>
                    <a:close/>
                    <a:moveTo>
                      <a:pt x="1152" y="1409"/>
                    </a:moveTo>
                    <a:cubicBezTo>
                      <a:pt x="1120" y="1404"/>
                      <a:pt x="1120" y="1404"/>
                      <a:pt x="1120" y="1404"/>
                    </a:cubicBezTo>
                    <a:cubicBezTo>
                      <a:pt x="1120" y="1377"/>
                      <a:pt x="1120" y="1377"/>
                      <a:pt x="1120" y="1377"/>
                    </a:cubicBezTo>
                    <a:cubicBezTo>
                      <a:pt x="1152" y="1377"/>
                      <a:pt x="1152" y="1377"/>
                      <a:pt x="1152" y="1377"/>
                    </a:cubicBezTo>
                    <a:lnTo>
                      <a:pt x="1152" y="1409"/>
                    </a:lnTo>
                    <a:close/>
                    <a:moveTo>
                      <a:pt x="1152" y="1374"/>
                    </a:moveTo>
                    <a:cubicBezTo>
                      <a:pt x="1120" y="1374"/>
                      <a:pt x="1120" y="1374"/>
                      <a:pt x="1120" y="1374"/>
                    </a:cubicBezTo>
                    <a:cubicBezTo>
                      <a:pt x="1120" y="1347"/>
                      <a:pt x="1120" y="1347"/>
                      <a:pt x="1120" y="1347"/>
                    </a:cubicBezTo>
                    <a:cubicBezTo>
                      <a:pt x="1152" y="1342"/>
                      <a:pt x="1152" y="1342"/>
                      <a:pt x="1152" y="1342"/>
                    </a:cubicBezTo>
                    <a:lnTo>
                      <a:pt x="1152" y="1374"/>
                    </a:lnTo>
                    <a:close/>
                    <a:moveTo>
                      <a:pt x="1199" y="1415"/>
                    </a:moveTo>
                    <a:cubicBezTo>
                      <a:pt x="1156" y="1409"/>
                      <a:pt x="1156" y="1409"/>
                      <a:pt x="1156" y="1409"/>
                    </a:cubicBezTo>
                    <a:cubicBezTo>
                      <a:pt x="1156" y="1377"/>
                      <a:pt x="1156" y="1377"/>
                      <a:pt x="1156" y="1377"/>
                    </a:cubicBezTo>
                    <a:cubicBezTo>
                      <a:pt x="1199" y="1377"/>
                      <a:pt x="1199" y="1377"/>
                      <a:pt x="1199" y="1377"/>
                    </a:cubicBezTo>
                    <a:lnTo>
                      <a:pt x="1199" y="1415"/>
                    </a:lnTo>
                    <a:close/>
                    <a:moveTo>
                      <a:pt x="1199" y="1374"/>
                    </a:moveTo>
                    <a:cubicBezTo>
                      <a:pt x="1156" y="1374"/>
                      <a:pt x="1156" y="1374"/>
                      <a:pt x="1156" y="1374"/>
                    </a:cubicBezTo>
                    <a:cubicBezTo>
                      <a:pt x="1156" y="1342"/>
                      <a:pt x="1156" y="1342"/>
                      <a:pt x="1156" y="1342"/>
                    </a:cubicBezTo>
                    <a:cubicBezTo>
                      <a:pt x="1199" y="1336"/>
                      <a:pt x="1199" y="1336"/>
                      <a:pt x="1199" y="1336"/>
                    </a:cubicBezTo>
                    <a:lnTo>
                      <a:pt x="1199" y="1374"/>
                    </a:lnTo>
                    <a:close/>
                    <a:moveTo>
                      <a:pt x="2176" y="1301"/>
                    </a:moveTo>
                    <a:cubicBezTo>
                      <a:pt x="136" y="1301"/>
                      <a:pt x="136" y="1301"/>
                      <a:pt x="136" y="1301"/>
                    </a:cubicBezTo>
                    <a:cubicBezTo>
                      <a:pt x="136" y="158"/>
                      <a:pt x="136" y="158"/>
                      <a:pt x="136" y="158"/>
                    </a:cubicBezTo>
                    <a:cubicBezTo>
                      <a:pt x="2176" y="158"/>
                      <a:pt x="2176" y="158"/>
                      <a:pt x="2176" y="158"/>
                    </a:cubicBezTo>
                    <a:lnTo>
                      <a:pt x="2176" y="130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3" name="Freeform 92"/>
              <p:cNvSpPr>
                <a:spLocks noChangeAspect="1"/>
              </p:cNvSpPr>
              <p:nvPr/>
            </p:nvSpPr>
            <p:spPr bwMode="black">
              <a:xfrm>
                <a:off x="1587318" y="5579013"/>
                <a:ext cx="274320" cy="264057"/>
              </a:xfrm>
              <a:custGeom>
                <a:avLst/>
                <a:gdLst>
                  <a:gd name="connsiteX0" fmla="*/ 439462 w 612464"/>
                  <a:gd name="connsiteY0" fmla="*/ 297781 h 589547"/>
                  <a:gd name="connsiteX1" fmla="*/ 612464 w 612464"/>
                  <a:gd name="connsiteY1" fmla="*/ 297781 h 589547"/>
                  <a:gd name="connsiteX2" fmla="*/ 612464 w 612464"/>
                  <a:gd name="connsiteY2" fmla="*/ 589544 h 589547"/>
                  <a:gd name="connsiteX3" fmla="*/ 439462 w 612464"/>
                  <a:gd name="connsiteY3" fmla="*/ 589544 h 589547"/>
                  <a:gd name="connsiteX4" fmla="*/ 0 w 612464"/>
                  <a:gd name="connsiteY4" fmla="*/ 138826 h 589547"/>
                  <a:gd name="connsiteX5" fmla="*/ 173002 w 612464"/>
                  <a:gd name="connsiteY5" fmla="*/ 138826 h 589547"/>
                  <a:gd name="connsiteX6" fmla="*/ 173002 w 612464"/>
                  <a:gd name="connsiteY6" fmla="*/ 589547 h 589547"/>
                  <a:gd name="connsiteX7" fmla="*/ 0 w 612464"/>
                  <a:gd name="connsiteY7" fmla="*/ 589547 h 589547"/>
                  <a:gd name="connsiteX8" fmla="*/ 219732 w 612464"/>
                  <a:gd name="connsiteY8" fmla="*/ 0 h 589547"/>
                  <a:gd name="connsiteX9" fmla="*/ 392734 w 612464"/>
                  <a:gd name="connsiteY9" fmla="*/ 0 h 589547"/>
                  <a:gd name="connsiteX10" fmla="*/ 392734 w 612464"/>
                  <a:gd name="connsiteY10" fmla="*/ 589542 h 589547"/>
                  <a:gd name="connsiteX11" fmla="*/ 219732 w 612464"/>
                  <a:gd name="connsiteY11" fmla="*/ 589542 h 5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64" h="589547">
                    <a:moveTo>
                      <a:pt x="439462" y="297781"/>
                    </a:moveTo>
                    <a:lnTo>
                      <a:pt x="612464" y="297781"/>
                    </a:lnTo>
                    <a:lnTo>
                      <a:pt x="612464" y="589544"/>
                    </a:lnTo>
                    <a:lnTo>
                      <a:pt x="439462" y="589544"/>
                    </a:lnTo>
                    <a:close/>
                    <a:moveTo>
                      <a:pt x="0" y="138826"/>
                    </a:moveTo>
                    <a:lnTo>
                      <a:pt x="173002" y="138826"/>
                    </a:lnTo>
                    <a:lnTo>
                      <a:pt x="173002" y="589547"/>
                    </a:lnTo>
                    <a:lnTo>
                      <a:pt x="0" y="589547"/>
                    </a:lnTo>
                    <a:close/>
                    <a:moveTo>
                      <a:pt x="219732" y="0"/>
                    </a:moveTo>
                    <a:lnTo>
                      <a:pt x="392734" y="0"/>
                    </a:lnTo>
                    <a:lnTo>
                      <a:pt x="392734" y="589542"/>
                    </a:lnTo>
                    <a:lnTo>
                      <a:pt x="219732" y="58954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4" name="Freeform 5"/>
              <p:cNvSpPr>
                <a:spLocks noChangeAspect="1" noEditPoints="1"/>
              </p:cNvSpPr>
              <p:nvPr/>
            </p:nvSpPr>
            <p:spPr bwMode="black">
              <a:xfrm>
                <a:off x="1902690" y="5637001"/>
                <a:ext cx="182880" cy="180469"/>
              </a:xfrm>
              <a:custGeom>
                <a:avLst/>
                <a:gdLst>
                  <a:gd name="T0" fmla="*/ 386 w 1313"/>
                  <a:gd name="T1" fmla="*/ 852 h 1296"/>
                  <a:gd name="T2" fmla="*/ 362 w 1313"/>
                  <a:gd name="T3" fmla="*/ 818 h 1296"/>
                  <a:gd name="T4" fmla="*/ 327 w 1313"/>
                  <a:gd name="T5" fmla="*/ 551 h 1296"/>
                  <a:gd name="T6" fmla="*/ 352 w 1313"/>
                  <a:gd name="T7" fmla="*/ 485 h 1296"/>
                  <a:gd name="T8" fmla="*/ 367 w 1313"/>
                  <a:gd name="T9" fmla="*/ 460 h 1296"/>
                  <a:gd name="T10" fmla="*/ 339 w 1313"/>
                  <a:gd name="T11" fmla="*/ 441 h 1296"/>
                  <a:gd name="T12" fmla="*/ 134 w 1313"/>
                  <a:gd name="T13" fmla="*/ 301 h 1296"/>
                  <a:gd name="T14" fmla="*/ 52 w 1313"/>
                  <a:gd name="T15" fmla="*/ 482 h 1296"/>
                  <a:gd name="T16" fmla="*/ 169 w 1313"/>
                  <a:gd name="T17" fmla="*/ 1035 h 1296"/>
                  <a:gd name="T18" fmla="*/ 386 w 1313"/>
                  <a:gd name="T19" fmla="*/ 852 h 1296"/>
                  <a:gd name="T20" fmla="*/ 612 w 1313"/>
                  <a:gd name="T21" fmla="*/ 295 h 1296"/>
                  <a:gd name="T22" fmla="*/ 611 w 1313"/>
                  <a:gd name="T23" fmla="*/ 287 h 1296"/>
                  <a:gd name="T24" fmla="*/ 583 w 1313"/>
                  <a:gd name="T25" fmla="*/ 13 h 1296"/>
                  <a:gd name="T26" fmla="*/ 154 w 1313"/>
                  <a:gd name="T27" fmla="*/ 269 h 1296"/>
                  <a:gd name="T28" fmla="*/ 387 w 1313"/>
                  <a:gd name="T29" fmla="*/ 428 h 1296"/>
                  <a:gd name="T30" fmla="*/ 389 w 1313"/>
                  <a:gd name="T31" fmla="*/ 426 h 1296"/>
                  <a:gd name="T32" fmla="*/ 552 w 1313"/>
                  <a:gd name="T33" fmla="*/ 310 h 1296"/>
                  <a:gd name="T34" fmla="*/ 612 w 1313"/>
                  <a:gd name="T35" fmla="*/ 295 h 1296"/>
                  <a:gd name="T36" fmla="*/ 981 w 1313"/>
                  <a:gd name="T37" fmla="*/ 91 h 1296"/>
                  <a:gd name="T38" fmla="*/ 620 w 1313"/>
                  <a:gd name="T39" fmla="*/ 9 h 1296"/>
                  <a:gd name="T40" fmla="*/ 645 w 1313"/>
                  <a:gd name="T41" fmla="*/ 251 h 1296"/>
                  <a:gd name="T42" fmla="*/ 650 w 1313"/>
                  <a:gd name="T43" fmla="*/ 293 h 1296"/>
                  <a:gd name="T44" fmla="*/ 687 w 1313"/>
                  <a:gd name="T45" fmla="*/ 291 h 1296"/>
                  <a:gd name="T46" fmla="*/ 757 w 1313"/>
                  <a:gd name="T47" fmla="*/ 303 h 1296"/>
                  <a:gd name="T48" fmla="*/ 823 w 1313"/>
                  <a:gd name="T49" fmla="*/ 328 h 1296"/>
                  <a:gd name="T50" fmla="*/ 833 w 1313"/>
                  <a:gd name="T51" fmla="*/ 334 h 1296"/>
                  <a:gd name="T52" fmla="*/ 841 w 1313"/>
                  <a:gd name="T53" fmla="*/ 319 h 1296"/>
                  <a:gd name="T54" fmla="*/ 981 w 1313"/>
                  <a:gd name="T55" fmla="*/ 91 h 1296"/>
                  <a:gd name="T56" fmla="*/ 1278 w 1313"/>
                  <a:gd name="T57" fmla="*/ 810 h 1296"/>
                  <a:gd name="T58" fmla="*/ 1300 w 1313"/>
                  <a:gd name="T59" fmla="*/ 699 h 1296"/>
                  <a:gd name="T60" fmla="*/ 1152 w 1313"/>
                  <a:gd name="T61" fmla="*/ 236 h 1296"/>
                  <a:gd name="T62" fmla="*/ 1012 w 1313"/>
                  <a:gd name="T63" fmla="*/ 111 h 1296"/>
                  <a:gd name="T64" fmla="*/ 876 w 1313"/>
                  <a:gd name="T65" fmla="*/ 335 h 1296"/>
                  <a:gd name="T66" fmla="*/ 865 w 1313"/>
                  <a:gd name="T67" fmla="*/ 354 h 1296"/>
                  <a:gd name="T68" fmla="*/ 882 w 1313"/>
                  <a:gd name="T69" fmla="*/ 365 h 1296"/>
                  <a:gd name="T70" fmla="*/ 1005 w 1313"/>
                  <a:gd name="T71" fmla="*/ 733 h 1296"/>
                  <a:gd name="T72" fmla="*/ 575 w 1313"/>
                  <a:gd name="T73" fmla="*/ 982 h 1296"/>
                  <a:gd name="T74" fmla="*/ 450 w 1313"/>
                  <a:gd name="T75" fmla="*/ 920 h 1296"/>
                  <a:gd name="T76" fmla="*/ 411 w 1313"/>
                  <a:gd name="T77" fmla="*/ 883 h 1296"/>
                  <a:gd name="T78" fmla="*/ 407 w 1313"/>
                  <a:gd name="T79" fmla="*/ 886 h 1296"/>
                  <a:gd name="T80" fmla="*/ 193 w 1313"/>
                  <a:gd name="T81" fmla="*/ 1067 h 1296"/>
                  <a:gd name="T82" fmla="*/ 730 w 1313"/>
                  <a:gd name="T83" fmla="*/ 1273 h 1296"/>
                  <a:gd name="T84" fmla="*/ 1074 w 1313"/>
                  <a:gd name="T85" fmla="*/ 1130 h 1296"/>
                  <a:gd name="T86" fmla="*/ 1278 w 1313"/>
                  <a:gd name="T87" fmla="*/ 810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3" h="1296">
                    <a:moveTo>
                      <a:pt x="386" y="852"/>
                    </a:moveTo>
                    <a:cubicBezTo>
                      <a:pt x="362" y="818"/>
                      <a:pt x="362" y="818"/>
                      <a:pt x="362" y="818"/>
                    </a:cubicBezTo>
                    <a:cubicBezTo>
                      <a:pt x="317" y="740"/>
                      <a:pt x="301" y="645"/>
                      <a:pt x="327" y="551"/>
                    </a:cubicBezTo>
                    <a:cubicBezTo>
                      <a:pt x="333" y="528"/>
                      <a:pt x="341" y="506"/>
                      <a:pt x="352" y="485"/>
                    </a:cubicBezTo>
                    <a:cubicBezTo>
                      <a:pt x="367" y="460"/>
                      <a:pt x="367" y="460"/>
                      <a:pt x="367" y="460"/>
                    </a:cubicBezTo>
                    <a:cubicBezTo>
                      <a:pt x="339" y="441"/>
                      <a:pt x="339" y="441"/>
                      <a:pt x="339" y="441"/>
                    </a:cubicBezTo>
                    <a:cubicBezTo>
                      <a:pt x="339" y="441"/>
                      <a:pt x="339" y="441"/>
                      <a:pt x="134" y="301"/>
                    </a:cubicBezTo>
                    <a:cubicBezTo>
                      <a:pt x="96" y="358"/>
                      <a:pt x="69" y="420"/>
                      <a:pt x="52" y="482"/>
                    </a:cubicBezTo>
                    <a:cubicBezTo>
                      <a:pt x="0" y="677"/>
                      <a:pt x="42" y="876"/>
                      <a:pt x="169" y="1035"/>
                    </a:cubicBezTo>
                    <a:lnTo>
                      <a:pt x="386" y="852"/>
                    </a:lnTo>
                    <a:close/>
                    <a:moveTo>
                      <a:pt x="612" y="295"/>
                    </a:moveTo>
                    <a:cubicBezTo>
                      <a:pt x="611" y="287"/>
                      <a:pt x="611" y="287"/>
                      <a:pt x="611" y="287"/>
                    </a:cubicBezTo>
                    <a:cubicBezTo>
                      <a:pt x="604" y="213"/>
                      <a:pt x="594" y="123"/>
                      <a:pt x="583" y="13"/>
                    </a:cubicBezTo>
                    <a:cubicBezTo>
                      <a:pt x="407" y="36"/>
                      <a:pt x="259" y="125"/>
                      <a:pt x="154" y="269"/>
                    </a:cubicBezTo>
                    <a:cubicBezTo>
                      <a:pt x="387" y="428"/>
                      <a:pt x="387" y="428"/>
                      <a:pt x="387" y="428"/>
                    </a:cubicBezTo>
                    <a:cubicBezTo>
                      <a:pt x="389" y="426"/>
                      <a:pt x="389" y="426"/>
                      <a:pt x="389" y="426"/>
                    </a:cubicBezTo>
                    <a:cubicBezTo>
                      <a:pt x="431" y="372"/>
                      <a:pt x="488" y="332"/>
                      <a:pt x="552" y="310"/>
                    </a:cubicBezTo>
                    <a:lnTo>
                      <a:pt x="612" y="295"/>
                    </a:lnTo>
                    <a:close/>
                    <a:moveTo>
                      <a:pt x="981" y="91"/>
                    </a:moveTo>
                    <a:cubicBezTo>
                      <a:pt x="869" y="28"/>
                      <a:pt x="752" y="0"/>
                      <a:pt x="620" y="9"/>
                    </a:cubicBezTo>
                    <a:cubicBezTo>
                      <a:pt x="620" y="9"/>
                      <a:pt x="620" y="9"/>
                      <a:pt x="645" y="251"/>
                    </a:cubicBezTo>
                    <a:cubicBezTo>
                      <a:pt x="650" y="293"/>
                      <a:pt x="650" y="293"/>
                      <a:pt x="650" y="293"/>
                    </a:cubicBezTo>
                    <a:cubicBezTo>
                      <a:pt x="687" y="291"/>
                      <a:pt x="687" y="291"/>
                      <a:pt x="687" y="291"/>
                    </a:cubicBezTo>
                    <a:cubicBezTo>
                      <a:pt x="710" y="293"/>
                      <a:pt x="733" y="297"/>
                      <a:pt x="757" y="303"/>
                    </a:cubicBezTo>
                    <a:cubicBezTo>
                      <a:pt x="780" y="309"/>
                      <a:pt x="803" y="318"/>
                      <a:pt x="823" y="328"/>
                    </a:cubicBezTo>
                    <a:cubicBezTo>
                      <a:pt x="833" y="334"/>
                      <a:pt x="833" y="334"/>
                      <a:pt x="833" y="334"/>
                    </a:cubicBezTo>
                    <a:cubicBezTo>
                      <a:pt x="841" y="319"/>
                      <a:pt x="841" y="319"/>
                      <a:pt x="841" y="319"/>
                    </a:cubicBezTo>
                    <a:cubicBezTo>
                      <a:pt x="879" y="258"/>
                      <a:pt x="925" y="183"/>
                      <a:pt x="981" y="91"/>
                    </a:cubicBezTo>
                    <a:close/>
                    <a:moveTo>
                      <a:pt x="1278" y="810"/>
                    </a:moveTo>
                    <a:cubicBezTo>
                      <a:pt x="1288" y="772"/>
                      <a:pt x="1294" y="737"/>
                      <a:pt x="1300" y="699"/>
                    </a:cubicBezTo>
                    <a:cubicBezTo>
                      <a:pt x="1313" y="529"/>
                      <a:pt x="1261" y="365"/>
                      <a:pt x="1152" y="236"/>
                    </a:cubicBezTo>
                    <a:cubicBezTo>
                      <a:pt x="1110" y="185"/>
                      <a:pt x="1065" y="147"/>
                      <a:pt x="1012" y="111"/>
                    </a:cubicBezTo>
                    <a:cubicBezTo>
                      <a:pt x="1012" y="111"/>
                      <a:pt x="1012" y="111"/>
                      <a:pt x="876" y="335"/>
                    </a:cubicBezTo>
                    <a:cubicBezTo>
                      <a:pt x="865" y="354"/>
                      <a:pt x="865" y="354"/>
                      <a:pt x="865" y="354"/>
                    </a:cubicBezTo>
                    <a:cubicBezTo>
                      <a:pt x="882" y="365"/>
                      <a:pt x="882" y="365"/>
                      <a:pt x="882" y="365"/>
                    </a:cubicBezTo>
                    <a:cubicBezTo>
                      <a:pt x="990" y="449"/>
                      <a:pt x="1043" y="593"/>
                      <a:pt x="1005" y="733"/>
                    </a:cubicBezTo>
                    <a:cubicBezTo>
                      <a:pt x="955" y="921"/>
                      <a:pt x="762" y="1032"/>
                      <a:pt x="575" y="982"/>
                    </a:cubicBezTo>
                    <a:cubicBezTo>
                      <a:pt x="528" y="969"/>
                      <a:pt x="486" y="948"/>
                      <a:pt x="450" y="920"/>
                    </a:cubicBezTo>
                    <a:cubicBezTo>
                      <a:pt x="411" y="883"/>
                      <a:pt x="411" y="883"/>
                      <a:pt x="411" y="883"/>
                    </a:cubicBezTo>
                    <a:cubicBezTo>
                      <a:pt x="407" y="886"/>
                      <a:pt x="407" y="886"/>
                      <a:pt x="407" y="886"/>
                    </a:cubicBezTo>
                    <a:cubicBezTo>
                      <a:pt x="350" y="934"/>
                      <a:pt x="280" y="994"/>
                      <a:pt x="193" y="1067"/>
                    </a:cubicBezTo>
                    <a:cubicBezTo>
                      <a:pt x="330" y="1217"/>
                      <a:pt x="529" y="1296"/>
                      <a:pt x="730" y="1273"/>
                    </a:cubicBezTo>
                    <a:cubicBezTo>
                      <a:pt x="859" y="1260"/>
                      <a:pt x="975" y="1210"/>
                      <a:pt x="1074" y="1130"/>
                    </a:cubicBezTo>
                    <a:cubicBezTo>
                      <a:pt x="1175" y="1043"/>
                      <a:pt x="1245" y="933"/>
                      <a:pt x="1278" y="81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97" name="Freeform 21"/>
            <p:cNvSpPr>
              <a:spLocks noChangeAspect="1" noEditPoints="1"/>
            </p:cNvSpPr>
            <p:nvPr/>
          </p:nvSpPr>
          <p:spPr bwMode="black">
            <a:xfrm>
              <a:off x="1133838" y="4984339"/>
              <a:ext cx="548640" cy="341703"/>
            </a:xfrm>
            <a:custGeom>
              <a:avLst/>
              <a:gdLst>
                <a:gd name="T0" fmla="*/ 1277 w 1355"/>
                <a:gd name="T1" fmla="*/ 371 h 843"/>
                <a:gd name="T2" fmla="*/ 1157 w 1355"/>
                <a:gd name="T3" fmla="*/ 298 h 843"/>
                <a:gd name="T4" fmla="*/ 1157 w 1355"/>
                <a:gd name="T5" fmla="*/ 277 h 843"/>
                <a:gd name="T6" fmla="*/ 1080 w 1355"/>
                <a:gd name="T7" fmla="*/ 83 h 843"/>
                <a:gd name="T8" fmla="*/ 888 w 1355"/>
                <a:gd name="T9" fmla="*/ 0 h 843"/>
                <a:gd name="T10" fmla="*/ 650 w 1355"/>
                <a:gd name="T11" fmla="*/ 135 h 843"/>
                <a:gd name="T12" fmla="*/ 544 w 1355"/>
                <a:gd name="T13" fmla="*/ 114 h 843"/>
                <a:gd name="T14" fmla="*/ 353 w 1355"/>
                <a:gd name="T15" fmla="*/ 189 h 843"/>
                <a:gd name="T16" fmla="*/ 287 w 1355"/>
                <a:gd name="T17" fmla="*/ 287 h 843"/>
                <a:gd name="T18" fmla="*/ 275 w 1355"/>
                <a:gd name="T19" fmla="*/ 287 h 843"/>
                <a:gd name="T20" fmla="*/ 82 w 1355"/>
                <a:gd name="T21" fmla="*/ 370 h 843"/>
                <a:gd name="T22" fmla="*/ 0 w 1355"/>
                <a:gd name="T23" fmla="*/ 565 h 843"/>
                <a:gd name="T24" fmla="*/ 82 w 1355"/>
                <a:gd name="T25" fmla="*/ 760 h 843"/>
                <a:gd name="T26" fmla="*/ 275 w 1355"/>
                <a:gd name="T27" fmla="*/ 843 h 843"/>
                <a:gd name="T28" fmla="*/ 1080 w 1355"/>
                <a:gd name="T29" fmla="*/ 843 h 843"/>
                <a:gd name="T30" fmla="*/ 1277 w 1355"/>
                <a:gd name="T31" fmla="*/ 760 h 843"/>
                <a:gd name="T32" fmla="*/ 1355 w 1355"/>
                <a:gd name="T33" fmla="*/ 565 h 843"/>
                <a:gd name="T34" fmla="*/ 1277 w 1355"/>
                <a:gd name="T35" fmla="*/ 371 h 843"/>
                <a:gd name="T36" fmla="*/ 1080 w 1355"/>
                <a:gd name="T37" fmla="*/ 766 h 843"/>
                <a:gd name="T38" fmla="*/ 275 w 1355"/>
                <a:gd name="T39" fmla="*/ 766 h 843"/>
                <a:gd name="T40" fmla="*/ 76 w 1355"/>
                <a:gd name="T41" fmla="*/ 565 h 843"/>
                <a:gd name="T42" fmla="*/ 275 w 1355"/>
                <a:gd name="T43" fmla="*/ 364 h 843"/>
                <a:gd name="T44" fmla="*/ 346 w 1355"/>
                <a:gd name="T45" fmla="*/ 381 h 843"/>
                <a:gd name="T46" fmla="*/ 544 w 1355"/>
                <a:gd name="T47" fmla="*/ 191 h 843"/>
                <a:gd name="T48" fmla="*/ 689 w 1355"/>
                <a:gd name="T49" fmla="*/ 255 h 843"/>
                <a:gd name="T50" fmla="*/ 888 w 1355"/>
                <a:gd name="T51" fmla="*/ 77 h 843"/>
                <a:gd name="T52" fmla="*/ 1080 w 1355"/>
                <a:gd name="T53" fmla="*/ 277 h 843"/>
                <a:gd name="T54" fmla="*/ 1064 w 1355"/>
                <a:gd name="T55" fmla="*/ 370 h 843"/>
                <a:gd name="T56" fmla="*/ 1080 w 1355"/>
                <a:gd name="T57" fmla="*/ 364 h 843"/>
                <a:gd name="T58" fmla="*/ 1278 w 1355"/>
                <a:gd name="T59" fmla="*/ 565 h 843"/>
                <a:gd name="T60" fmla="*/ 1080 w 1355"/>
                <a:gd name="T61" fmla="*/ 766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5" h="843">
                  <a:moveTo>
                    <a:pt x="1277" y="371"/>
                  </a:moveTo>
                  <a:cubicBezTo>
                    <a:pt x="1242" y="335"/>
                    <a:pt x="1201" y="311"/>
                    <a:pt x="1157" y="298"/>
                  </a:cubicBezTo>
                  <a:cubicBezTo>
                    <a:pt x="1157" y="291"/>
                    <a:pt x="1157" y="285"/>
                    <a:pt x="1157" y="277"/>
                  </a:cubicBezTo>
                  <a:cubicBezTo>
                    <a:pt x="1157" y="205"/>
                    <a:pt x="1130" y="136"/>
                    <a:pt x="1080" y="83"/>
                  </a:cubicBezTo>
                  <a:cubicBezTo>
                    <a:pt x="1028" y="29"/>
                    <a:pt x="959" y="0"/>
                    <a:pt x="888" y="0"/>
                  </a:cubicBezTo>
                  <a:cubicBezTo>
                    <a:pt x="789" y="0"/>
                    <a:pt x="700" y="54"/>
                    <a:pt x="650" y="135"/>
                  </a:cubicBezTo>
                  <a:cubicBezTo>
                    <a:pt x="618" y="121"/>
                    <a:pt x="581" y="114"/>
                    <a:pt x="544" y="114"/>
                  </a:cubicBezTo>
                  <a:cubicBezTo>
                    <a:pt x="471" y="114"/>
                    <a:pt x="404" y="141"/>
                    <a:pt x="353" y="189"/>
                  </a:cubicBezTo>
                  <a:cubicBezTo>
                    <a:pt x="324" y="217"/>
                    <a:pt x="302" y="250"/>
                    <a:pt x="287" y="287"/>
                  </a:cubicBezTo>
                  <a:cubicBezTo>
                    <a:pt x="283" y="287"/>
                    <a:pt x="279" y="287"/>
                    <a:pt x="275" y="287"/>
                  </a:cubicBezTo>
                  <a:cubicBezTo>
                    <a:pt x="203" y="287"/>
                    <a:pt x="134" y="317"/>
                    <a:pt x="82" y="370"/>
                  </a:cubicBezTo>
                  <a:cubicBezTo>
                    <a:pt x="29" y="422"/>
                    <a:pt x="0" y="492"/>
                    <a:pt x="0" y="565"/>
                  </a:cubicBezTo>
                  <a:cubicBezTo>
                    <a:pt x="0" y="638"/>
                    <a:pt x="29" y="707"/>
                    <a:pt x="82" y="760"/>
                  </a:cubicBezTo>
                  <a:cubicBezTo>
                    <a:pt x="134" y="814"/>
                    <a:pt x="203" y="843"/>
                    <a:pt x="275" y="843"/>
                  </a:cubicBezTo>
                  <a:cubicBezTo>
                    <a:pt x="1080" y="843"/>
                    <a:pt x="1080" y="843"/>
                    <a:pt x="1080" y="843"/>
                  </a:cubicBezTo>
                  <a:cubicBezTo>
                    <a:pt x="1155" y="843"/>
                    <a:pt x="1224" y="814"/>
                    <a:pt x="1277" y="760"/>
                  </a:cubicBezTo>
                  <a:cubicBezTo>
                    <a:pt x="1327" y="707"/>
                    <a:pt x="1355" y="638"/>
                    <a:pt x="1355" y="565"/>
                  </a:cubicBezTo>
                  <a:cubicBezTo>
                    <a:pt x="1355" y="492"/>
                    <a:pt x="1327" y="422"/>
                    <a:pt x="1277" y="371"/>
                  </a:cubicBezTo>
                  <a:close/>
                  <a:moveTo>
                    <a:pt x="1080" y="766"/>
                  </a:moveTo>
                  <a:cubicBezTo>
                    <a:pt x="1080" y="766"/>
                    <a:pt x="437" y="766"/>
                    <a:pt x="275" y="766"/>
                  </a:cubicBezTo>
                  <a:cubicBezTo>
                    <a:pt x="167" y="766"/>
                    <a:pt x="76" y="674"/>
                    <a:pt x="76" y="565"/>
                  </a:cubicBezTo>
                  <a:cubicBezTo>
                    <a:pt x="76" y="457"/>
                    <a:pt x="167" y="364"/>
                    <a:pt x="275" y="364"/>
                  </a:cubicBezTo>
                  <a:cubicBezTo>
                    <a:pt x="302" y="364"/>
                    <a:pt x="324" y="370"/>
                    <a:pt x="346" y="381"/>
                  </a:cubicBezTo>
                  <a:cubicBezTo>
                    <a:pt x="351" y="272"/>
                    <a:pt x="437" y="191"/>
                    <a:pt x="544" y="191"/>
                  </a:cubicBezTo>
                  <a:cubicBezTo>
                    <a:pt x="603" y="191"/>
                    <a:pt x="650" y="213"/>
                    <a:pt x="689" y="255"/>
                  </a:cubicBezTo>
                  <a:cubicBezTo>
                    <a:pt x="699" y="158"/>
                    <a:pt x="785" y="77"/>
                    <a:pt x="888" y="77"/>
                  </a:cubicBezTo>
                  <a:cubicBezTo>
                    <a:pt x="994" y="77"/>
                    <a:pt x="1080" y="169"/>
                    <a:pt x="1080" y="277"/>
                  </a:cubicBezTo>
                  <a:cubicBezTo>
                    <a:pt x="1080" y="311"/>
                    <a:pt x="1075" y="343"/>
                    <a:pt x="1064" y="370"/>
                  </a:cubicBezTo>
                  <a:cubicBezTo>
                    <a:pt x="1069" y="364"/>
                    <a:pt x="1075" y="364"/>
                    <a:pt x="1080" y="364"/>
                  </a:cubicBezTo>
                  <a:cubicBezTo>
                    <a:pt x="1192" y="364"/>
                    <a:pt x="1278" y="457"/>
                    <a:pt x="1278" y="565"/>
                  </a:cubicBezTo>
                  <a:cubicBezTo>
                    <a:pt x="1278" y="674"/>
                    <a:pt x="1192" y="766"/>
                    <a:pt x="1080" y="76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2" name="Group 1"/>
          <p:cNvGrpSpPr/>
          <p:nvPr/>
        </p:nvGrpSpPr>
        <p:grpSpPr>
          <a:xfrm>
            <a:off x="8751218" y="3522977"/>
            <a:ext cx="2102057" cy="2103120"/>
            <a:chOff x="5327998" y="1364739"/>
            <a:chExt cx="2102057" cy="2103120"/>
          </a:xfrm>
        </p:grpSpPr>
        <p:sp>
          <p:nvSpPr>
            <p:cNvPr id="34" name="Rectangle 33"/>
            <p:cNvSpPr/>
            <p:nvPr/>
          </p:nvSpPr>
          <p:spPr>
            <a:xfrm>
              <a:off x="5327998" y="1364739"/>
              <a:ext cx="2102057" cy="2103120"/>
            </a:xfrm>
            <a:prstGeom prst="rect">
              <a:avLst/>
            </a:prstGeom>
            <a:solidFill>
              <a:schemeClr val="accent3"/>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r>
                <a:rPr lang="en-US" sz="2800" dirty="0">
                  <a:gradFill>
                    <a:gsLst>
                      <a:gs pos="2917">
                        <a:srgbClr val="FFFFFF"/>
                      </a:gs>
                      <a:gs pos="30000">
                        <a:srgbClr val="FFFFFF"/>
                      </a:gs>
                    </a:gsLst>
                    <a:lin ang="5400000" scaled="0"/>
                  </a:gradFill>
                  <a:latin typeface="Segoe UI Light"/>
                </a:rPr>
                <a:t>Mobile </a:t>
              </a:r>
              <a:r>
                <a:rPr lang="en-US" sz="2800" dirty="0" smtClean="0">
                  <a:gradFill>
                    <a:gsLst>
                      <a:gs pos="2917">
                        <a:srgbClr val="FFFFFF"/>
                      </a:gs>
                      <a:gs pos="30000">
                        <a:srgbClr val="FFFFFF"/>
                      </a:gs>
                    </a:gsLst>
                    <a:lin ang="5400000" scaled="0"/>
                  </a:gradFill>
                  <a:latin typeface="Segoe UI Light"/>
                </a:rPr>
                <a:t>BI</a:t>
              </a:r>
              <a:endParaRPr lang="en-US" sz="2800" dirty="0">
                <a:gradFill>
                  <a:gsLst>
                    <a:gs pos="2917">
                      <a:srgbClr val="FFFFFF"/>
                    </a:gs>
                    <a:gs pos="30000">
                      <a:srgbClr val="FFFFFF"/>
                    </a:gs>
                  </a:gsLst>
                  <a:lin ang="5400000" scaled="0"/>
                </a:gradFill>
                <a:latin typeface="Segoe UI Light"/>
              </a:endParaRPr>
            </a:p>
          </p:txBody>
        </p:sp>
        <p:sp>
          <p:nvSpPr>
            <p:cNvPr id="56" name="Freeform 55"/>
            <p:cNvSpPr/>
            <p:nvPr/>
          </p:nvSpPr>
          <p:spPr bwMode="auto">
            <a:xfrm>
              <a:off x="5646861" y="1673831"/>
              <a:ext cx="1269240" cy="719917"/>
            </a:xfrm>
            <a:custGeom>
              <a:avLst/>
              <a:gdLst>
                <a:gd name="connsiteX0" fmla="*/ 929243 w 1902178"/>
                <a:gd name="connsiteY0" fmla="*/ 990551 h 1078921"/>
                <a:gd name="connsiteX1" fmla="*/ 904927 w 1902178"/>
                <a:gd name="connsiteY1" fmla="*/ 1031637 h 1078921"/>
                <a:gd name="connsiteX2" fmla="*/ 1178835 w 1902178"/>
                <a:gd name="connsiteY2" fmla="*/ 1031637 h 1078921"/>
                <a:gd name="connsiteX3" fmla="*/ 1154519 w 1902178"/>
                <a:gd name="connsiteY3" fmla="*/ 990551 h 1078921"/>
                <a:gd name="connsiteX4" fmla="*/ 617407 w 1902178"/>
                <a:gd name="connsiteY4" fmla="*/ 911834 h 1078921"/>
                <a:gd name="connsiteX5" fmla="*/ 1466355 w 1902178"/>
                <a:gd name="connsiteY5" fmla="*/ 911834 h 1078921"/>
                <a:gd name="connsiteX6" fmla="*/ 1540924 w 1902178"/>
                <a:gd name="connsiteY6" fmla="*/ 1037835 h 1078921"/>
                <a:gd name="connsiteX7" fmla="*/ 1540479 w 1902178"/>
                <a:gd name="connsiteY7" fmla="*/ 1037835 h 1078921"/>
                <a:gd name="connsiteX8" fmla="*/ 1540479 w 1902178"/>
                <a:gd name="connsiteY8" fmla="*/ 1078921 h 1078921"/>
                <a:gd name="connsiteX9" fmla="*/ 543282 w 1902178"/>
                <a:gd name="connsiteY9" fmla="*/ 1078921 h 1078921"/>
                <a:gd name="connsiteX10" fmla="*/ 543282 w 1902178"/>
                <a:gd name="connsiteY10" fmla="*/ 1037835 h 1078921"/>
                <a:gd name="connsiteX11" fmla="*/ 542839 w 1902178"/>
                <a:gd name="connsiteY11" fmla="*/ 1037835 h 1078921"/>
                <a:gd name="connsiteX12" fmla="*/ 1717870 w 1902178"/>
                <a:gd name="connsiteY12" fmla="*/ 755063 h 1078921"/>
                <a:gd name="connsiteX13" fmla="*/ 1693309 w 1902178"/>
                <a:gd name="connsiteY13" fmla="*/ 779617 h 1078921"/>
                <a:gd name="connsiteX14" fmla="*/ 1717870 w 1902178"/>
                <a:gd name="connsiteY14" fmla="*/ 804171 h 1078921"/>
                <a:gd name="connsiteX15" fmla="*/ 1742430 w 1902178"/>
                <a:gd name="connsiteY15" fmla="*/ 779617 h 1078921"/>
                <a:gd name="connsiteX16" fmla="*/ 1717870 w 1902178"/>
                <a:gd name="connsiteY16" fmla="*/ 755063 h 1078921"/>
                <a:gd name="connsiteX17" fmla="*/ 650755 w 1902178"/>
                <a:gd name="connsiteY17" fmla="*/ 386685 h 1078921"/>
                <a:gd name="connsiteX18" fmla="*/ 650755 w 1902178"/>
                <a:gd name="connsiteY18" fmla="*/ 875299 h 1078921"/>
                <a:gd name="connsiteX19" fmla="*/ 1433009 w 1902178"/>
                <a:gd name="connsiteY19" fmla="*/ 875299 h 1078921"/>
                <a:gd name="connsiteX20" fmla="*/ 1433009 w 1902178"/>
                <a:gd name="connsiteY20" fmla="*/ 386685 h 1078921"/>
                <a:gd name="connsiteX21" fmla="*/ 645396 w 1902178"/>
                <a:gd name="connsiteY21" fmla="*/ 357688 h 1078921"/>
                <a:gd name="connsiteX22" fmla="*/ 1438366 w 1902178"/>
                <a:gd name="connsiteY22" fmla="*/ 357688 h 1078921"/>
                <a:gd name="connsiteX23" fmla="*/ 1464635 w 1902178"/>
                <a:gd name="connsiteY23" fmla="*/ 383957 h 1078921"/>
                <a:gd name="connsiteX24" fmla="*/ 1464635 w 1902178"/>
                <a:gd name="connsiteY24" fmla="*/ 899538 h 1078921"/>
                <a:gd name="connsiteX25" fmla="*/ 619127 w 1902178"/>
                <a:gd name="connsiteY25" fmla="*/ 899538 h 1078921"/>
                <a:gd name="connsiteX26" fmla="*/ 619127 w 1902178"/>
                <a:gd name="connsiteY26" fmla="*/ 383957 h 1078921"/>
                <a:gd name="connsiteX27" fmla="*/ 645396 w 1902178"/>
                <a:gd name="connsiteY27" fmla="*/ 357688 h 1078921"/>
                <a:gd name="connsiteX28" fmla="*/ 1570574 w 1902178"/>
                <a:gd name="connsiteY28" fmla="*/ 235703 h 1078921"/>
                <a:gd name="connsiteX29" fmla="*/ 1570574 w 1902178"/>
                <a:gd name="connsiteY29" fmla="*/ 733008 h 1078921"/>
                <a:gd name="connsiteX30" fmla="*/ 1865165 w 1902178"/>
                <a:gd name="connsiteY30" fmla="*/ 733008 h 1078921"/>
                <a:gd name="connsiteX31" fmla="*/ 1865165 w 1902178"/>
                <a:gd name="connsiteY31" fmla="*/ 235703 h 1078921"/>
                <a:gd name="connsiteX32" fmla="*/ 1644146 w 1902178"/>
                <a:gd name="connsiteY32" fmla="*/ 200433 h 1078921"/>
                <a:gd name="connsiteX33" fmla="*/ 1639539 w 1902178"/>
                <a:gd name="connsiteY33" fmla="*/ 205040 h 1078921"/>
                <a:gd name="connsiteX34" fmla="*/ 1644146 w 1902178"/>
                <a:gd name="connsiteY34" fmla="*/ 209646 h 1078921"/>
                <a:gd name="connsiteX35" fmla="*/ 1791593 w 1902178"/>
                <a:gd name="connsiteY35" fmla="*/ 209646 h 1078921"/>
                <a:gd name="connsiteX36" fmla="*/ 1796201 w 1902178"/>
                <a:gd name="connsiteY36" fmla="*/ 205040 h 1078921"/>
                <a:gd name="connsiteX37" fmla="*/ 1791593 w 1902178"/>
                <a:gd name="connsiteY37" fmla="*/ 200433 h 1078921"/>
                <a:gd name="connsiteX38" fmla="*/ 1594999 w 1902178"/>
                <a:gd name="connsiteY38" fmla="*/ 174521 h 1078921"/>
                <a:gd name="connsiteX39" fmla="*/ 1840741 w 1902178"/>
                <a:gd name="connsiteY39" fmla="*/ 174521 h 1078921"/>
                <a:gd name="connsiteX40" fmla="*/ 1902178 w 1902178"/>
                <a:gd name="connsiteY40" fmla="*/ 235942 h 1078921"/>
                <a:gd name="connsiteX41" fmla="*/ 1902178 w 1902178"/>
                <a:gd name="connsiteY41" fmla="*/ 761452 h 1078921"/>
                <a:gd name="connsiteX42" fmla="*/ 1840741 w 1902178"/>
                <a:gd name="connsiteY42" fmla="*/ 822873 h 1078921"/>
                <a:gd name="connsiteX43" fmla="*/ 1594999 w 1902178"/>
                <a:gd name="connsiteY43" fmla="*/ 822873 h 1078921"/>
                <a:gd name="connsiteX44" fmla="*/ 1533561 w 1902178"/>
                <a:gd name="connsiteY44" fmla="*/ 761452 h 1078921"/>
                <a:gd name="connsiteX45" fmla="*/ 1533561 w 1902178"/>
                <a:gd name="connsiteY45" fmla="*/ 235942 h 1078921"/>
                <a:gd name="connsiteX46" fmla="*/ 1594999 w 1902178"/>
                <a:gd name="connsiteY46" fmla="*/ 174521 h 1078921"/>
                <a:gd name="connsiteX47" fmla="*/ 789043 w 1902178"/>
                <a:gd name="connsiteY47" fmla="*/ 141235 h 1078921"/>
                <a:gd name="connsiteX48" fmla="*/ 784223 w 1902178"/>
                <a:gd name="connsiteY48" fmla="*/ 146054 h 1078921"/>
                <a:gd name="connsiteX49" fmla="*/ 784223 w 1902178"/>
                <a:gd name="connsiteY49" fmla="*/ 283211 h 1078921"/>
                <a:gd name="connsiteX50" fmla="*/ 789043 w 1902178"/>
                <a:gd name="connsiteY50" fmla="*/ 288030 h 1078921"/>
                <a:gd name="connsiteX51" fmla="*/ 808324 w 1902178"/>
                <a:gd name="connsiteY51" fmla="*/ 288030 h 1078921"/>
                <a:gd name="connsiteX52" fmla="*/ 813145 w 1902178"/>
                <a:gd name="connsiteY52" fmla="*/ 283211 h 1078921"/>
                <a:gd name="connsiteX53" fmla="*/ 813145 w 1902178"/>
                <a:gd name="connsiteY53" fmla="*/ 146054 h 1078921"/>
                <a:gd name="connsiteX54" fmla="*/ 808324 w 1902178"/>
                <a:gd name="connsiteY54" fmla="*/ 141235 h 1078921"/>
                <a:gd name="connsiteX55" fmla="*/ 40792 w 1902178"/>
                <a:gd name="connsiteY55" fmla="*/ 0 h 1078921"/>
                <a:gd name="connsiteX56" fmla="*/ 797938 w 1902178"/>
                <a:gd name="connsiteY56" fmla="*/ 0 h 1078921"/>
                <a:gd name="connsiteX57" fmla="*/ 838729 w 1902178"/>
                <a:gd name="connsiteY57" fmla="*/ 40781 h 1078921"/>
                <a:gd name="connsiteX58" fmla="*/ 838729 w 1902178"/>
                <a:gd name="connsiteY58" fmla="*/ 319339 h 1078921"/>
                <a:gd name="connsiteX59" fmla="*/ 813145 w 1902178"/>
                <a:gd name="connsiteY59" fmla="*/ 319339 h 1078921"/>
                <a:gd name="connsiteX60" fmla="*/ 813145 w 1902178"/>
                <a:gd name="connsiteY60" fmla="*/ 308418 h 1078921"/>
                <a:gd name="connsiteX61" fmla="*/ 808324 w 1902178"/>
                <a:gd name="connsiteY61" fmla="*/ 303599 h 1078921"/>
                <a:gd name="connsiteX62" fmla="*/ 789043 w 1902178"/>
                <a:gd name="connsiteY62" fmla="*/ 303599 h 1078921"/>
                <a:gd name="connsiteX63" fmla="*/ 784223 w 1902178"/>
                <a:gd name="connsiteY63" fmla="*/ 308418 h 1078921"/>
                <a:gd name="connsiteX64" fmla="*/ 784223 w 1902178"/>
                <a:gd name="connsiteY64" fmla="*/ 319339 h 1078921"/>
                <a:gd name="connsiteX65" fmla="*/ 759751 w 1902178"/>
                <a:gd name="connsiteY65" fmla="*/ 319339 h 1078921"/>
                <a:gd name="connsiteX66" fmla="*/ 759751 w 1902178"/>
                <a:gd name="connsiteY66" fmla="*/ 82161 h 1078921"/>
                <a:gd name="connsiteX67" fmla="*/ 725400 w 1902178"/>
                <a:gd name="connsiteY67" fmla="*/ 47819 h 1078921"/>
                <a:gd name="connsiteX68" fmla="*/ 86582 w 1902178"/>
                <a:gd name="connsiteY68" fmla="*/ 47819 h 1078921"/>
                <a:gd name="connsiteX69" fmla="*/ 52231 w 1902178"/>
                <a:gd name="connsiteY69" fmla="*/ 82161 h 1078921"/>
                <a:gd name="connsiteX70" fmla="*/ 52231 w 1902178"/>
                <a:gd name="connsiteY70" fmla="*/ 511691 h 1078921"/>
                <a:gd name="connsiteX71" fmla="*/ 86582 w 1902178"/>
                <a:gd name="connsiteY71" fmla="*/ 546033 h 1078921"/>
                <a:gd name="connsiteX72" fmla="*/ 590951 w 1902178"/>
                <a:gd name="connsiteY72" fmla="*/ 546033 h 1078921"/>
                <a:gd name="connsiteX73" fmla="*/ 590951 w 1902178"/>
                <a:gd name="connsiteY73" fmla="*/ 591629 h 1078921"/>
                <a:gd name="connsiteX74" fmla="*/ 40792 w 1902178"/>
                <a:gd name="connsiteY74" fmla="*/ 591629 h 1078921"/>
                <a:gd name="connsiteX75" fmla="*/ 0 w 1902178"/>
                <a:gd name="connsiteY75" fmla="*/ 550848 h 1078921"/>
                <a:gd name="connsiteX76" fmla="*/ 0 w 1902178"/>
                <a:gd name="connsiteY76" fmla="*/ 40781 h 1078921"/>
                <a:gd name="connsiteX77" fmla="*/ 40792 w 1902178"/>
                <a:gd name="connsiteY77" fmla="*/ 0 h 1078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02178" h="1078921">
                  <a:moveTo>
                    <a:pt x="929243" y="990551"/>
                  </a:moveTo>
                  <a:lnTo>
                    <a:pt x="904927" y="1031637"/>
                  </a:lnTo>
                  <a:lnTo>
                    <a:pt x="1178835" y="1031637"/>
                  </a:lnTo>
                  <a:lnTo>
                    <a:pt x="1154519" y="990551"/>
                  </a:lnTo>
                  <a:close/>
                  <a:moveTo>
                    <a:pt x="617407" y="911834"/>
                  </a:moveTo>
                  <a:lnTo>
                    <a:pt x="1466355" y="911834"/>
                  </a:lnTo>
                  <a:lnTo>
                    <a:pt x="1540924" y="1037835"/>
                  </a:lnTo>
                  <a:lnTo>
                    <a:pt x="1540479" y="1037835"/>
                  </a:lnTo>
                  <a:lnTo>
                    <a:pt x="1540479" y="1078921"/>
                  </a:lnTo>
                  <a:lnTo>
                    <a:pt x="543282" y="1078921"/>
                  </a:lnTo>
                  <a:lnTo>
                    <a:pt x="543282" y="1037835"/>
                  </a:lnTo>
                  <a:lnTo>
                    <a:pt x="542839" y="1037835"/>
                  </a:lnTo>
                  <a:close/>
                  <a:moveTo>
                    <a:pt x="1717870" y="755063"/>
                  </a:moveTo>
                  <a:cubicBezTo>
                    <a:pt x="1704306" y="755063"/>
                    <a:pt x="1693309" y="766056"/>
                    <a:pt x="1693309" y="779617"/>
                  </a:cubicBezTo>
                  <a:cubicBezTo>
                    <a:pt x="1693309" y="793178"/>
                    <a:pt x="1704306" y="804171"/>
                    <a:pt x="1717870" y="804171"/>
                  </a:cubicBezTo>
                  <a:cubicBezTo>
                    <a:pt x="1731434" y="804171"/>
                    <a:pt x="1742430" y="793178"/>
                    <a:pt x="1742430" y="779617"/>
                  </a:cubicBezTo>
                  <a:cubicBezTo>
                    <a:pt x="1742430" y="766056"/>
                    <a:pt x="1731434" y="755063"/>
                    <a:pt x="1717870" y="755063"/>
                  </a:cubicBezTo>
                  <a:close/>
                  <a:moveTo>
                    <a:pt x="650755" y="386685"/>
                  </a:moveTo>
                  <a:lnTo>
                    <a:pt x="650755" y="875299"/>
                  </a:lnTo>
                  <a:lnTo>
                    <a:pt x="1433009" y="875299"/>
                  </a:lnTo>
                  <a:lnTo>
                    <a:pt x="1433009" y="386685"/>
                  </a:lnTo>
                  <a:close/>
                  <a:moveTo>
                    <a:pt x="645396" y="357688"/>
                  </a:moveTo>
                  <a:lnTo>
                    <a:pt x="1438366" y="357688"/>
                  </a:lnTo>
                  <a:cubicBezTo>
                    <a:pt x="1452875" y="357688"/>
                    <a:pt x="1464635" y="369448"/>
                    <a:pt x="1464635" y="383957"/>
                  </a:cubicBezTo>
                  <a:lnTo>
                    <a:pt x="1464635" y="899538"/>
                  </a:lnTo>
                  <a:lnTo>
                    <a:pt x="619127" y="899538"/>
                  </a:lnTo>
                  <a:lnTo>
                    <a:pt x="619127" y="383957"/>
                  </a:lnTo>
                  <a:cubicBezTo>
                    <a:pt x="619127" y="369448"/>
                    <a:pt x="630887" y="357688"/>
                    <a:pt x="645396" y="357688"/>
                  </a:cubicBezTo>
                  <a:close/>
                  <a:moveTo>
                    <a:pt x="1570574" y="235703"/>
                  </a:moveTo>
                  <a:lnTo>
                    <a:pt x="1570574" y="733008"/>
                  </a:lnTo>
                  <a:lnTo>
                    <a:pt x="1865165" y="733008"/>
                  </a:lnTo>
                  <a:lnTo>
                    <a:pt x="1865165" y="235703"/>
                  </a:lnTo>
                  <a:close/>
                  <a:moveTo>
                    <a:pt x="1644146" y="200433"/>
                  </a:moveTo>
                  <a:cubicBezTo>
                    <a:pt x="1641602" y="200433"/>
                    <a:pt x="1639539" y="202496"/>
                    <a:pt x="1639539" y="205040"/>
                  </a:cubicBezTo>
                  <a:cubicBezTo>
                    <a:pt x="1639539" y="207584"/>
                    <a:pt x="1641602" y="209646"/>
                    <a:pt x="1644146" y="209646"/>
                  </a:cubicBezTo>
                  <a:lnTo>
                    <a:pt x="1791593" y="209646"/>
                  </a:lnTo>
                  <a:cubicBezTo>
                    <a:pt x="1794138" y="209646"/>
                    <a:pt x="1796201" y="207584"/>
                    <a:pt x="1796201" y="205040"/>
                  </a:cubicBezTo>
                  <a:cubicBezTo>
                    <a:pt x="1796201" y="202496"/>
                    <a:pt x="1794138" y="200433"/>
                    <a:pt x="1791593" y="200433"/>
                  </a:cubicBezTo>
                  <a:close/>
                  <a:moveTo>
                    <a:pt x="1594999" y="174521"/>
                  </a:moveTo>
                  <a:lnTo>
                    <a:pt x="1840741" y="174521"/>
                  </a:lnTo>
                  <a:cubicBezTo>
                    <a:pt x="1874672" y="174521"/>
                    <a:pt x="1902178" y="202020"/>
                    <a:pt x="1902178" y="235942"/>
                  </a:cubicBezTo>
                  <a:lnTo>
                    <a:pt x="1902178" y="761452"/>
                  </a:lnTo>
                  <a:cubicBezTo>
                    <a:pt x="1902178" y="795374"/>
                    <a:pt x="1874672" y="822873"/>
                    <a:pt x="1840741" y="822873"/>
                  </a:cubicBezTo>
                  <a:lnTo>
                    <a:pt x="1594999" y="822873"/>
                  </a:lnTo>
                  <a:cubicBezTo>
                    <a:pt x="1561068" y="822873"/>
                    <a:pt x="1533561" y="795374"/>
                    <a:pt x="1533561" y="761452"/>
                  </a:cubicBezTo>
                  <a:lnTo>
                    <a:pt x="1533561" y="235942"/>
                  </a:lnTo>
                  <a:cubicBezTo>
                    <a:pt x="1533561" y="202020"/>
                    <a:pt x="1561068" y="174521"/>
                    <a:pt x="1594999" y="174521"/>
                  </a:cubicBezTo>
                  <a:close/>
                  <a:moveTo>
                    <a:pt x="789043" y="141235"/>
                  </a:moveTo>
                  <a:cubicBezTo>
                    <a:pt x="786381" y="141235"/>
                    <a:pt x="784223" y="143392"/>
                    <a:pt x="784223" y="146054"/>
                  </a:cubicBezTo>
                  <a:lnTo>
                    <a:pt x="784223" y="283211"/>
                  </a:lnTo>
                  <a:cubicBezTo>
                    <a:pt x="784223" y="285872"/>
                    <a:pt x="786381" y="288030"/>
                    <a:pt x="789043" y="288030"/>
                  </a:cubicBezTo>
                  <a:lnTo>
                    <a:pt x="808324" y="288030"/>
                  </a:lnTo>
                  <a:cubicBezTo>
                    <a:pt x="810987" y="288030"/>
                    <a:pt x="813145" y="285872"/>
                    <a:pt x="813145" y="283211"/>
                  </a:cubicBezTo>
                  <a:lnTo>
                    <a:pt x="813145" y="146054"/>
                  </a:lnTo>
                  <a:cubicBezTo>
                    <a:pt x="813145" y="143392"/>
                    <a:pt x="810987" y="141235"/>
                    <a:pt x="808324" y="141235"/>
                  </a:cubicBezTo>
                  <a:close/>
                  <a:moveTo>
                    <a:pt x="40792" y="0"/>
                  </a:moveTo>
                  <a:lnTo>
                    <a:pt x="797938" y="0"/>
                  </a:lnTo>
                  <a:cubicBezTo>
                    <a:pt x="820466" y="0"/>
                    <a:pt x="838729" y="18258"/>
                    <a:pt x="838729" y="40781"/>
                  </a:cubicBezTo>
                  <a:lnTo>
                    <a:pt x="838729" y="319339"/>
                  </a:lnTo>
                  <a:lnTo>
                    <a:pt x="813145" y="319339"/>
                  </a:lnTo>
                  <a:lnTo>
                    <a:pt x="813145" y="308418"/>
                  </a:lnTo>
                  <a:cubicBezTo>
                    <a:pt x="813145" y="305757"/>
                    <a:pt x="810987" y="303599"/>
                    <a:pt x="808324" y="303599"/>
                  </a:cubicBezTo>
                  <a:lnTo>
                    <a:pt x="789043" y="303599"/>
                  </a:lnTo>
                  <a:cubicBezTo>
                    <a:pt x="786381" y="303599"/>
                    <a:pt x="784223" y="305757"/>
                    <a:pt x="784223" y="308418"/>
                  </a:cubicBezTo>
                  <a:lnTo>
                    <a:pt x="784223" y="319339"/>
                  </a:lnTo>
                  <a:lnTo>
                    <a:pt x="759751" y="319339"/>
                  </a:lnTo>
                  <a:lnTo>
                    <a:pt x="759751" y="82161"/>
                  </a:lnTo>
                  <a:cubicBezTo>
                    <a:pt x="759751" y="63194"/>
                    <a:pt x="744372" y="47819"/>
                    <a:pt x="725400" y="47819"/>
                  </a:cubicBezTo>
                  <a:lnTo>
                    <a:pt x="86582" y="47819"/>
                  </a:lnTo>
                  <a:cubicBezTo>
                    <a:pt x="67611" y="47819"/>
                    <a:pt x="52231" y="63194"/>
                    <a:pt x="52231" y="82161"/>
                  </a:cubicBezTo>
                  <a:lnTo>
                    <a:pt x="52231" y="511691"/>
                  </a:lnTo>
                  <a:cubicBezTo>
                    <a:pt x="52231" y="530658"/>
                    <a:pt x="67611" y="546033"/>
                    <a:pt x="86582" y="546033"/>
                  </a:cubicBezTo>
                  <a:lnTo>
                    <a:pt x="590951" y="546033"/>
                  </a:lnTo>
                  <a:lnTo>
                    <a:pt x="590951" y="591629"/>
                  </a:lnTo>
                  <a:lnTo>
                    <a:pt x="40792" y="591629"/>
                  </a:lnTo>
                  <a:cubicBezTo>
                    <a:pt x="18263" y="591629"/>
                    <a:pt x="0" y="573371"/>
                    <a:pt x="0" y="550848"/>
                  </a:cubicBezTo>
                  <a:lnTo>
                    <a:pt x="0" y="40781"/>
                  </a:lnTo>
                  <a:cubicBezTo>
                    <a:pt x="0" y="18258"/>
                    <a:pt x="18263" y="0"/>
                    <a:pt x="40792"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8751218" y="1364739"/>
            <a:ext cx="2102057" cy="2103120"/>
            <a:chOff x="7556178" y="1364739"/>
            <a:chExt cx="2102057" cy="2103120"/>
          </a:xfrm>
        </p:grpSpPr>
        <p:sp>
          <p:nvSpPr>
            <p:cNvPr id="36" name="Rectangle 35"/>
            <p:cNvSpPr/>
            <p:nvPr/>
          </p:nvSpPr>
          <p:spPr>
            <a:xfrm>
              <a:off x="7556178" y="1364739"/>
              <a:ext cx="2102057" cy="2103120"/>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91440" numCol="1" rtlCol="0" anchor="b" anchorCtr="0" compatLnSpc="1">
              <a:prstTxWarp prst="textNoShape">
                <a:avLst/>
              </a:prstTxWarp>
            </a:bodyPr>
            <a:lstStyle/>
            <a:p>
              <a:pPr defTabSz="932398" fontAlgn="base">
                <a:spcBef>
                  <a:spcPct val="0"/>
                </a:spcBef>
                <a:spcAft>
                  <a:spcPct val="0"/>
                </a:spcAft>
              </a:pPr>
              <a:r>
                <a:rPr lang="en-US" sz="2800" dirty="0">
                  <a:gradFill>
                    <a:gsLst>
                      <a:gs pos="2917">
                        <a:srgbClr val="FFFFFF"/>
                      </a:gs>
                      <a:gs pos="30000">
                        <a:srgbClr val="FFFFFF"/>
                      </a:gs>
                    </a:gsLst>
                    <a:lin ang="5400000" scaled="0"/>
                  </a:gradFill>
                  <a:latin typeface="Segoe UI Light"/>
                </a:rPr>
                <a:t>Modern </a:t>
              </a:r>
              <a:r>
                <a:rPr lang="en-US" sz="2800" dirty="0" smtClean="0">
                  <a:gradFill>
                    <a:gsLst>
                      <a:gs pos="2917">
                        <a:srgbClr val="FFFFFF"/>
                      </a:gs>
                      <a:gs pos="30000">
                        <a:srgbClr val="FFFFFF"/>
                      </a:gs>
                    </a:gsLst>
                    <a:lin ang="5400000" scaled="0"/>
                  </a:gradFill>
                  <a:latin typeface="Segoe UI Light"/>
                </a:rPr>
                <a:t/>
              </a:r>
              <a:br>
                <a:rPr lang="en-US" sz="2800" dirty="0" smtClean="0">
                  <a:gradFill>
                    <a:gsLst>
                      <a:gs pos="2917">
                        <a:srgbClr val="FFFFFF"/>
                      </a:gs>
                      <a:gs pos="30000">
                        <a:srgbClr val="FFFFFF"/>
                      </a:gs>
                    </a:gsLst>
                    <a:lin ang="5400000" scaled="0"/>
                  </a:gradFill>
                  <a:latin typeface="Segoe UI Light"/>
                </a:rPr>
              </a:br>
              <a:r>
                <a:rPr lang="en-US" sz="2800" dirty="0" smtClean="0">
                  <a:gradFill>
                    <a:gsLst>
                      <a:gs pos="2917">
                        <a:srgbClr val="FFFFFF"/>
                      </a:gs>
                      <a:gs pos="30000">
                        <a:srgbClr val="FFFFFF"/>
                      </a:gs>
                    </a:gsLst>
                    <a:lin ang="5400000" scaled="0"/>
                  </a:gradFill>
                  <a:latin typeface="Segoe UI Light"/>
                </a:rPr>
                <a:t>Reports</a:t>
              </a:r>
              <a:endParaRPr lang="en-US" sz="2800" dirty="0">
                <a:gradFill>
                  <a:gsLst>
                    <a:gs pos="2917">
                      <a:srgbClr val="FFFFFF"/>
                    </a:gs>
                    <a:gs pos="30000">
                      <a:srgbClr val="FFFFFF"/>
                    </a:gs>
                  </a:gsLst>
                  <a:lin ang="5400000" scaled="0"/>
                </a:gradFill>
                <a:latin typeface="Segoe UI Light"/>
              </a:endParaRPr>
            </a:p>
          </p:txBody>
        </p:sp>
        <p:sp>
          <p:nvSpPr>
            <p:cNvPr id="57" name="Freeform 56"/>
            <p:cNvSpPr>
              <a:spLocks noChangeAspect="1"/>
            </p:cNvSpPr>
            <p:nvPr/>
          </p:nvSpPr>
          <p:spPr bwMode="auto">
            <a:xfrm>
              <a:off x="8246071" y="1787869"/>
              <a:ext cx="668806" cy="605879"/>
            </a:xfrm>
            <a:custGeom>
              <a:avLst/>
              <a:gdLst>
                <a:gd name="connsiteX0" fmla="*/ 1426931 w 2447286"/>
                <a:gd name="connsiteY0" fmla="*/ 1592017 h 2217025"/>
                <a:gd name="connsiteX1" fmla="*/ 2243279 w 2447286"/>
                <a:gd name="connsiteY1" fmla="*/ 1592017 h 2217025"/>
                <a:gd name="connsiteX2" fmla="*/ 2243279 w 2447286"/>
                <a:gd name="connsiteY2" fmla="*/ 1673535 h 2217025"/>
                <a:gd name="connsiteX3" fmla="*/ 1426931 w 2447286"/>
                <a:gd name="connsiteY3" fmla="*/ 1673535 h 2217025"/>
                <a:gd name="connsiteX4" fmla="*/ 1426931 w 2447286"/>
                <a:gd name="connsiteY4" fmla="*/ 1404638 h 2217025"/>
                <a:gd name="connsiteX5" fmla="*/ 2243279 w 2447286"/>
                <a:gd name="connsiteY5" fmla="*/ 1404638 h 2217025"/>
                <a:gd name="connsiteX6" fmla="*/ 2243279 w 2447286"/>
                <a:gd name="connsiteY6" fmla="*/ 1486156 h 2217025"/>
                <a:gd name="connsiteX7" fmla="*/ 1426931 w 2447286"/>
                <a:gd name="connsiteY7" fmla="*/ 1486156 h 2217025"/>
                <a:gd name="connsiteX8" fmla="*/ 497455 w 2447286"/>
                <a:gd name="connsiteY8" fmla="*/ 1217259 h 2217025"/>
                <a:gd name="connsiteX9" fmla="*/ 1313803 w 2447286"/>
                <a:gd name="connsiteY9" fmla="*/ 1217259 h 2217025"/>
                <a:gd name="connsiteX10" fmla="*/ 1313803 w 2447286"/>
                <a:gd name="connsiteY10" fmla="*/ 1673535 h 2217025"/>
                <a:gd name="connsiteX11" fmla="*/ 497455 w 2447286"/>
                <a:gd name="connsiteY11" fmla="*/ 1673535 h 2217025"/>
                <a:gd name="connsiteX12" fmla="*/ 1426931 w 2447286"/>
                <a:gd name="connsiteY12" fmla="*/ 1217258 h 2217025"/>
                <a:gd name="connsiteX13" fmla="*/ 2243279 w 2447286"/>
                <a:gd name="connsiteY13" fmla="*/ 1217258 h 2217025"/>
                <a:gd name="connsiteX14" fmla="*/ 2243279 w 2447286"/>
                <a:gd name="connsiteY14" fmla="*/ 1298776 h 2217025"/>
                <a:gd name="connsiteX15" fmla="*/ 1426931 w 2447286"/>
                <a:gd name="connsiteY15" fmla="*/ 1298776 h 2217025"/>
                <a:gd name="connsiteX16" fmla="*/ 497455 w 2447286"/>
                <a:gd name="connsiteY16" fmla="*/ 1029879 h 2217025"/>
                <a:gd name="connsiteX17" fmla="*/ 1313803 w 2447286"/>
                <a:gd name="connsiteY17" fmla="*/ 1029879 h 2217025"/>
                <a:gd name="connsiteX18" fmla="*/ 1313803 w 2447286"/>
                <a:gd name="connsiteY18" fmla="*/ 1111397 h 2217025"/>
                <a:gd name="connsiteX19" fmla="*/ 497455 w 2447286"/>
                <a:gd name="connsiteY19" fmla="*/ 1111397 h 2217025"/>
                <a:gd name="connsiteX20" fmla="*/ 1426931 w 2447286"/>
                <a:gd name="connsiteY20" fmla="*/ 1029878 h 2217025"/>
                <a:gd name="connsiteX21" fmla="*/ 2243279 w 2447286"/>
                <a:gd name="connsiteY21" fmla="*/ 1029878 h 2217025"/>
                <a:gd name="connsiteX22" fmla="*/ 2243279 w 2447286"/>
                <a:gd name="connsiteY22" fmla="*/ 1111396 h 2217025"/>
                <a:gd name="connsiteX23" fmla="*/ 1426931 w 2447286"/>
                <a:gd name="connsiteY23" fmla="*/ 1111396 h 2217025"/>
                <a:gd name="connsiteX24" fmla="*/ 1426931 w 2447286"/>
                <a:gd name="connsiteY24" fmla="*/ 842499 h 2217025"/>
                <a:gd name="connsiteX25" fmla="*/ 2243279 w 2447286"/>
                <a:gd name="connsiteY25" fmla="*/ 842499 h 2217025"/>
                <a:gd name="connsiteX26" fmla="*/ 2243279 w 2447286"/>
                <a:gd name="connsiteY26" fmla="*/ 924017 h 2217025"/>
                <a:gd name="connsiteX27" fmla="*/ 1426931 w 2447286"/>
                <a:gd name="connsiteY27" fmla="*/ 924017 h 2217025"/>
                <a:gd name="connsiteX28" fmla="*/ 497455 w 2447286"/>
                <a:gd name="connsiteY28" fmla="*/ 842499 h 2217025"/>
                <a:gd name="connsiteX29" fmla="*/ 1313803 w 2447286"/>
                <a:gd name="connsiteY29" fmla="*/ 842499 h 2217025"/>
                <a:gd name="connsiteX30" fmla="*/ 1313803 w 2447286"/>
                <a:gd name="connsiteY30" fmla="*/ 924017 h 2217025"/>
                <a:gd name="connsiteX31" fmla="*/ 497455 w 2447286"/>
                <a:gd name="connsiteY31" fmla="*/ 924017 h 2217025"/>
                <a:gd name="connsiteX32" fmla="*/ 497455 w 2447286"/>
                <a:gd name="connsiteY32" fmla="*/ 655119 h 2217025"/>
                <a:gd name="connsiteX33" fmla="*/ 1313803 w 2447286"/>
                <a:gd name="connsiteY33" fmla="*/ 655119 h 2217025"/>
                <a:gd name="connsiteX34" fmla="*/ 1313803 w 2447286"/>
                <a:gd name="connsiteY34" fmla="*/ 736637 h 2217025"/>
                <a:gd name="connsiteX35" fmla="*/ 497455 w 2447286"/>
                <a:gd name="connsiteY35" fmla="*/ 736637 h 2217025"/>
                <a:gd name="connsiteX36" fmla="*/ 1831276 w 2447286"/>
                <a:gd name="connsiteY36" fmla="*/ 603840 h 2217025"/>
                <a:gd name="connsiteX37" fmla="*/ 1819671 w 2447286"/>
                <a:gd name="connsiteY37" fmla="*/ 615445 h 2217025"/>
                <a:gd name="connsiteX38" fmla="*/ 1819671 w 2447286"/>
                <a:gd name="connsiteY38" fmla="*/ 654130 h 2217025"/>
                <a:gd name="connsiteX39" fmla="*/ 1831276 w 2447286"/>
                <a:gd name="connsiteY39" fmla="*/ 665735 h 2217025"/>
                <a:gd name="connsiteX40" fmla="*/ 1842881 w 2447286"/>
                <a:gd name="connsiteY40" fmla="*/ 654130 h 2217025"/>
                <a:gd name="connsiteX41" fmla="*/ 1842881 w 2447286"/>
                <a:gd name="connsiteY41" fmla="*/ 615445 h 2217025"/>
                <a:gd name="connsiteX42" fmla="*/ 1831276 w 2447286"/>
                <a:gd name="connsiteY42" fmla="*/ 603840 h 2217025"/>
                <a:gd name="connsiteX43" fmla="*/ 497455 w 2447286"/>
                <a:gd name="connsiteY43" fmla="*/ 467739 h 2217025"/>
                <a:gd name="connsiteX44" fmla="*/ 1313803 w 2447286"/>
                <a:gd name="connsiteY44" fmla="*/ 467739 h 2217025"/>
                <a:gd name="connsiteX45" fmla="*/ 1313803 w 2447286"/>
                <a:gd name="connsiteY45" fmla="*/ 549257 h 2217025"/>
                <a:gd name="connsiteX46" fmla="*/ 497455 w 2447286"/>
                <a:gd name="connsiteY46" fmla="*/ 549257 h 2217025"/>
                <a:gd name="connsiteX47" fmla="*/ 1976929 w 2447286"/>
                <a:gd name="connsiteY47" fmla="*/ 460593 h 2217025"/>
                <a:gd name="connsiteX48" fmla="*/ 1965324 w 2447286"/>
                <a:gd name="connsiteY48" fmla="*/ 472198 h 2217025"/>
                <a:gd name="connsiteX49" fmla="*/ 1976929 w 2447286"/>
                <a:gd name="connsiteY49" fmla="*/ 483803 h 2217025"/>
                <a:gd name="connsiteX50" fmla="*/ 2015614 w 2447286"/>
                <a:gd name="connsiteY50" fmla="*/ 483803 h 2217025"/>
                <a:gd name="connsiteX51" fmla="*/ 2027219 w 2447286"/>
                <a:gd name="connsiteY51" fmla="*/ 472198 h 2217025"/>
                <a:gd name="connsiteX52" fmla="*/ 2015614 w 2447286"/>
                <a:gd name="connsiteY52" fmla="*/ 460593 h 2217025"/>
                <a:gd name="connsiteX53" fmla="*/ 1651844 w 2447286"/>
                <a:gd name="connsiteY53" fmla="*/ 460593 h 2217025"/>
                <a:gd name="connsiteX54" fmla="*/ 1640239 w 2447286"/>
                <a:gd name="connsiteY54" fmla="*/ 472198 h 2217025"/>
                <a:gd name="connsiteX55" fmla="*/ 1651844 w 2447286"/>
                <a:gd name="connsiteY55" fmla="*/ 483803 h 2217025"/>
                <a:gd name="connsiteX56" fmla="*/ 1690529 w 2447286"/>
                <a:gd name="connsiteY56" fmla="*/ 483803 h 2217025"/>
                <a:gd name="connsiteX57" fmla="*/ 1702134 w 2447286"/>
                <a:gd name="connsiteY57" fmla="*/ 472198 h 2217025"/>
                <a:gd name="connsiteX58" fmla="*/ 1690529 w 2447286"/>
                <a:gd name="connsiteY58" fmla="*/ 460593 h 2217025"/>
                <a:gd name="connsiteX59" fmla="*/ 1827408 w 2447286"/>
                <a:gd name="connsiteY59" fmla="*/ 378162 h 2217025"/>
                <a:gd name="connsiteX60" fmla="*/ 1827408 w 2447286"/>
                <a:gd name="connsiteY60" fmla="*/ 462195 h 2217025"/>
                <a:gd name="connsiteX61" fmla="*/ 1819671 w 2447286"/>
                <a:gd name="connsiteY61" fmla="*/ 472198 h 2217025"/>
                <a:gd name="connsiteX62" fmla="*/ 1831276 w 2447286"/>
                <a:gd name="connsiteY62" fmla="*/ 483803 h 2217025"/>
                <a:gd name="connsiteX63" fmla="*/ 1839306 w 2447286"/>
                <a:gd name="connsiteY63" fmla="*/ 480477 h 2217025"/>
                <a:gd name="connsiteX64" fmla="*/ 1895114 w 2447286"/>
                <a:gd name="connsiteY64" fmla="*/ 511411 h 2217025"/>
                <a:gd name="connsiteX65" fmla="*/ 1898865 w 2447286"/>
                <a:gd name="connsiteY65" fmla="*/ 504645 h 2217025"/>
                <a:gd name="connsiteX66" fmla="*/ 1842406 w 2447286"/>
                <a:gd name="connsiteY66" fmla="*/ 473349 h 2217025"/>
                <a:gd name="connsiteX67" fmla="*/ 1842881 w 2447286"/>
                <a:gd name="connsiteY67" fmla="*/ 472198 h 2217025"/>
                <a:gd name="connsiteX68" fmla="*/ 1835144 w 2447286"/>
                <a:gd name="connsiteY68" fmla="*/ 462195 h 2217025"/>
                <a:gd name="connsiteX69" fmla="*/ 1835144 w 2447286"/>
                <a:gd name="connsiteY69" fmla="*/ 378162 h 2217025"/>
                <a:gd name="connsiteX70" fmla="*/ 0 w 2447286"/>
                <a:gd name="connsiteY70" fmla="*/ 289498 h 2217025"/>
                <a:gd name="connsiteX71" fmla="*/ 199212 w 2447286"/>
                <a:gd name="connsiteY71" fmla="*/ 289498 h 2217025"/>
                <a:gd name="connsiteX72" fmla="*/ 199212 w 2447286"/>
                <a:gd name="connsiteY72" fmla="*/ 410527 h 2217025"/>
                <a:gd name="connsiteX73" fmla="*/ 121029 w 2447286"/>
                <a:gd name="connsiteY73" fmla="*/ 410527 h 2217025"/>
                <a:gd name="connsiteX74" fmla="*/ 121029 w 2447286"/>
                <a:gd name="connsiteY74" fmla="*/ 2095996 h 2217025"/>
                <a:gd name="connsiteX75" fmla="*/ 2036167 w 2447286"/>
                <a:gd name="connsiteY75" fmla="*/ 2095996 h 2217025"/>
                <a:gd name="connsiteX76" fmla="*/ 2036167 w 2447286"/>
                <a:gd name="connsiteY76" fmla="*/ 1999219 h 2217025"/>
                <a:gd name="connsiteX77" fmla="*/ 2157196 w 2447286"/>
                <a:gd name="connsiteY77" fmla="*/ 1999219 h 2217025"/>
                <a:gd name="connsiteX78" fmla="*/ 2157196 w 2447286"/>
                <a:gd name="connsiteY78" fmla="*/ 2217025 h 2217025"/>
                <a:gd name="connsiteX79" fmla="*/ 0 w 2447286"/>
                <a:gd name="connsiteY79" fmla="*/ 2217025 h 2217025"/>
                <a:gd name="connsiteX80" fmla="*/ 1831276 w 2447286"/>
                <a:gd name="connsiteY80" fmla="*/ 282229 h 2217025"/>
                <a:gd name="connsiteX81" fmla="*/ 1819671 w 2447286"/>
                <a:gd name="connsiteY81" fmla="*/ 293834 h 2217025"/>
                <a:gd name="connsiteX82" fmla="*/ 1819671 w 2447286"/>
                <a:gd name="connsiteY82" fmla="*/ 332519 h 2217025"/>
                <a:gd name="connsiteX83" fmla="*/ 1831276 w 2447286"/>
                <a:gd name="connsiteY83" fmla="*/ 344124 h 2217025"/>
                <a:gd name="connsiteX84" fmla="*/ 1842881 w 2447286"/>
                <a:gd name="connsiteY84" fmla="*/ 332519 h 2217025"/>
                <a:gd name="connsiteX85" fmla="*/ 1842881 w 2447286"/>
                <a:gd name="connsiteY85" fmla="*/ 293834 h 2217025"/>
                <a:gd name="connsiteX86" fmla="*/ 1831276 w 2447286"/>
                <a:gd name="connsiteY86" fmla="*/ 282229 h 2217025"/>
                <a:gd name="connsiteX87" fmla="*/ 497455 w 2447286"/>
                <a:gd name="connsiteY87" fmla="*/ 280359 h 2217025"/>
                <a:gd name="connsiteX88" fmla="*/ 1313803 w 2447286"/>
                <a:gd name="connsiteY88" fmla="*/ 280359 h 2217025"/>
                <a:gd name="connsiteX89" fmla="*/ 1313803 w 2447286"/>
                <a:gd name="connsiteY89" fmla="*/ 361877 h 2217025"/>
                <a:gd name="connsiteX90" fmla="*/ 497455 w 2447286"/>
                <a:gd name="connsiteY90" fmla="*/ 361877 h 2217025"/>
                <a:gd name="connsiteX91" fmla="*/ 1833728 w 2447286"/>
                <a:gd name="connsiteY91" fmla="*/ 231095 h 2217025"/>
                <a:gd name="connsiteX92" fmla="*/ 2076615 w 2447286"/>
                <a:gd name="connsiteY92" fmla="*/ 473982 h 2217025"/>
                <a:gd name="connsiteX93" fmla="*/ 1833728 w 2447286"/>
                <a:gd name="connsiteY93" fmla="*/ 716869 h 2217025"/>
                <a:gd name="connsiteX94" fmla="*/ 1590841 w 2447286"/>
                <a:gd name="connsiteY94" fmla="*/ 473982 h 2217025"/>
                <a:gd name="connsiteX95" fmla="*/ 1833728 w 2447286"/>
                <a:gd name="connsiteY95" fmla="*/ 231095 h 2217025"/>
                <a:gd name="connsiteX96" fmla="*/ 1833729 w 2447286"/>
                <a:gd name="connsiteY96" fmla="*/ 180609 h 2217025"/>
                <a:gd name="connsiteX97" fmla="*/ 1540355 w 2447286"/>
                <a:gd name="connsiteY97" fmla="*/ 473983 h 2217025"/>
                <a:gd name="connsiteX98" fmla="*/ 1833729 w 2447286"/>
                <a:gd name="connsiteY98" fmla="*/ 767357 h 2217025"/>
                <a:gd name="connsiteX99" fmla="*/ 2127103 w 2447286"/>
                <a:gd name="connsiteY99" fmla="*/ 473983 h 2217025"/>
                <a:gd name="connsiteX100" fmla="*/ 1833729 w 2447286"/>
                <a:gd name="connsiteY100" fmla="*/ 180609 h 2217025"/>
                <a:gd name="connsiteX101" fmla="*/ 1833729 w 2447286"/>
                <a:gd name="connsiteY101" fmla="*/ 139234 h 2217025"/>
                <a:gd name="connsiteX102" fmla="*/ 2168478 w 2447286"/>
                <a:gd name="connsiteY102" fmla="*/ 473983 h 2217025"/>
                <a:gd name="connsiteX103" fmla="*/ 1833729 w 2447286"/>
                <a:gd name="connsiteY103" fmla="*/ 808732 h 2217025"/>
                <a:gd name="connsiteX104" fmla="*/ 1498980 w 2447286"/>
                <a:gd name="connsiteY104" fmla="*/ 473983 h 2217025"/>
                <a:gd name="connsiteX105" fmla="*/ 1833729 w 2447286"/>
                <a:gd name="connsiteY105" fmla="*/ 139234 h 2217025"/>
                <a:gd name="connsiteX106" fmla="*/ 411119 w 2447286"/>
                <a:gd name="connsiteY106" fmla="*/ 121029 h 2217025"/>
                <a:gd name="connsiteX107" fmla="*/ 411119 w 2447286"/>
                <a:gd name="connsiteY107" fmla="*/ 1806498 h 2217025"/>
                <a:gd name="connsiteX108" fmla="*/ 2326257 w 2447286"/>
                <a:gd name="connsiteY108" fmla="*/ 1806498 h 2217025"/>
                <a:gd name="connsiteX109" fmla="*/ 2326257 w 2447286"/>
                <a:gd name="connsiteY109" fmla="*/ 121029 h 2217025"/>
                <a:gd name="connsiteX110" fmla="*/ 290090 w 2447286"/>
                <a:gd name="connsiteY110" fmla="*/ 0 h 2217025"/>
                <a:gd name="connsiteX111" fmla="*/ 2447286 w 2447286"/>
                <a:gd name="connsiteY111" fmla="*/ 0 h 2217025"/>
                <a:gd name="connsiteX112" fmla="*/ 2447286 w 2447286"/>
                <a:gd name="connsiteY112" fmla="*/ 1927527 h 2217025"/>
                <a:gd name="connsiteX113" fmla="*/ 290090 w 2447286"/>
                <a:gd name="connsiteY113" fmla="*/ 1927527 h 221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2447286" h="2217025">
                  <a:moveTo>
                    <a:pt x="1426931" y="1592017"/>
                  </a:moveTo>
                  <a:lnTo>
                    <a:pt x="2243279" y="1592017"/>
                  </a:lnTo>
                  <a:lnTo>
                    <a:pt x="2243279" y="1673535"/>
                  </a:lnTo>
                  <a:lnTo>
                    <a:pt x="1426931" y="1673535"/>
                  </a:lnTo>
                  <a:close/>
                  <a:moveTo>
                    <a:pt x="1426931" y="1404638"/>
                  </a:moveTo>
                  <a:lnTo>
                    <a:pt x="2243279" y="1404638"/>
                  </a:lnTo>
                  <a:lnTo>
                    <a:pt x="2243279" y="1486156"/>
                  </a:lnTo>
                  <a:lnTo>
                    <a:pt x="1426931" y="1486156"/>
                  </a:lnTo>
                  <a:close/>
                  <a:moveTo>
                    <a:pt x="497455" y="1217259"/>
                  </a:moveTo>
                  <a:lnTo>
                    <a:pt x="1313803" y="1217259"/>
                  </a:lnTo>
                  <a:lnTo>
                    <a:pt x="1313803" y="1673535"/>
                  </a:lnTo>
                  <a:lnTo>
                    <a:pt x="497455" y="1673535"/>
                  </a:lnTo>
                  <a:close/>
                  <a:moveTo>
                    <a:pt x="1426931" y="1217258"/>
                  </a:moveTo>
                  <a:lnTo>
                    <a:pt x="2243279" y="1217258"/>
                  </a:lnTo>
                  <a:lnTo>
                    <a:pt x="2243279" y="1298776"/>
                  </a:lnTo>
                  <a:lnTo>
                    <a:pt x="1426931" y="1298776"/>
                  </a:lnTo>
                  <a:close/>
                  <a:moveTo>
                    <a:pt x="497455" y="1029879"/>
                  </a:moveTo>
                  <a:lnTo>
                    <a:pt x="1313803" y="1029879"/>
                  </a:lnTo>
                  <a:lnTo>
                    <a:pt x="1313803" y="1111397"/>
                  </a:lnTo>
                  <a:lnTo>
                    <a:pt x="497455" y="1111397"/>
                  </a:lnTo>
                  <a:close/>
                  <a:moveTo>
                    <a:pt x="1426931" y="1029878"/>
                  </a:moveTo>
                  <a:lnTo>
                    <a:pt x="2243279" y="1029878"/>
                  </a:lnTo>
                  <a:lnTo>
                    <a:pt x="2243279" y="1111396"/>
                  </a:lnTo>
                  <a:lnTo>
                    <a:pt x="1426931" y="1111396"/>
                  </a:lnTo>
                  <a:close/>
                  <a:moveTo>
                    <a:pt x="1426931" y="842499"/>
                  </a:moveTo>
                  <a:lnTo>
                    <a:pt x="2243279" y="842499"/>
                  </a:lnTo>
                  <a:lnTo>
                    <a:pt x="2243279" y="924017"/>
                  </a:lnTo>
                  <a:lnTo>
                    <a:pt x="1426931" y="924017"/>
                  </a:lnTo>
                  <a:close/>
                  <a:moveTo>
                    <a:pt x="497455" y="842499"/>
                  </a:moveTo>
                  <a:lnTo>
                    <a:pt x="1313803" y="842499"/>
                  </a:lnTo>
                  <a:lnTo>
                    <a:pt x="1313803" y="924017"/>
                  </a:lnTo>
                  <a:lnTo>
                    <a:pt x="497455" y="924017"/>
                  </a:lnTo>
                  <a:close/>
                  <a:moveTo>
                    <a:pt x="497455" y="655119"/>
                  </a:moveTo>
                  <a:lnTo>
                    <a:pt x="1313803" y="655119"/>
                  </a:lnTo>
                  <a:lnTo>
                    <a:pt x="1313803" y="736637"/>
                  </a:lnTo>
                  <a:lnTo>
                    <a:pt x="497455" y="736637"/>
                  </a:lnTo>
                  <a:close/>
                  <a:moveTo>
                    <a:pt x="1831276" y="603840"/>
                  </a:moveTo>
                  <a:cubicBezTo>
                    <a:pt x="1824868" y="603840"/>
                    <a:pt x="1819671" y="609037"/>
                    <a:pt x="1819671" y="615445"/>
                  </a:cubicBezTo>
                  <a:lnTo>
                    <a:pt x="1819671" y="654130"/>
                  </a:lnTo>
                  <a:cubicBezTo>
                    <a:pt x="1819671" y="660539"/>
                    <a:pt x="1824868" y="665735"/>
                    <a:pt x="1831276" y="665735"/>
                  </a:cubicBezTo>
                  <a:cubicBezTo>
                    <a:pt x="1837686" y="665735"/>
                    <a:pt x="1842881" y="660539"/>
                    <a:pt x="1842881" y="654130"/>
                  </a:cubicBezTo>
                  <a:lnTo>
                    <a:pt x="1842881" y="615445"/>
                  </a:lnTo>
                  <a:cubicBezTo>
                    <a:pt x="1842881" y="609037"/>
                    <a:pt x="1837686" y="603840"/>
                    <a:pt x="1831276" y="603840"/>
                  </a:cubicBezTo>
                  <a:close/>
                  <a:moveTo>
                    <a:pt x="497455" y="467739"/>
                  </a:moveTo>
                  <a:lnTo>
                    <a:pt x="1313803" y="467739"/>
                  </a:lnTo>
                  <a:lnTo>
                    <a:pt x="1313803" y="549257"/>
                  </a:lnTo>
                  <a:lnTo>
                    <a:pt x="497455" y="549257"/>
                  </a:lnTo>
                  <a:close/>
                  <a:moveTo>
                    <a:pt x="1976929" y="460593"/>
                  </a:moveTo>
                  <a:cubicBezTo>
                    <a:pt x="1970521" y="460593"/>
                    <a:pt x="1965324" y="465790"/>
                    <a:pt x="1965324" y="472198"/>
                  </a:cubicBezTo>
                  <a:cubicBezTo>
                    <a:pt x="1965324" y="478608"/>
                    <a:pt x="1970521" y="483803"/>
                    <a:pt x="1976929" y="483803"/>
                  </a:cubicBezTo>
                  <a:lnTo>
                    <a:pt x="2015614" y="483803"/>
                  </a:lnTo>
                  <a:cubicBezTo>
                    <a:pt x="2022024" y="483803"/>
                    <a:pt x="2027219" y="478608"/>
                    <a:pt x="2027219" y="472198"/>
                  </a:cubicBezTo>
                  <a:cubicBezTo>
                    <a:pt x="2027219" y="465790"/>
                    <a:pt x="2022024" y="460593"/>
                    <a:pt x="2015614" y="460593"/>
                  </a:cubicBezTo>
                  <a:close/>
                  <a:moveTo>
                    <a:pt x="1651844" y="460593"/>
                  </a:moveTo>
                  <a:cubicBezTo>
                    <a:pt x="1645435" y="460593"/>
                    <a:pt x="1640239" y="465790"/>
                    <a:pt x="1640239" y="472198"/>
                  </a:cubicBezTo>
                  <a:cubicBezTo>
                    <a:pt x="1640239" y="478608"/>
                    <a:pt x="1645435" y="483803"/>
                    <a:pt x="1651844" y="483803"/>
                  </a:cubicBezTo>
                  <a:lnTo>
                    <a:pt x="1690529" y="483803"/>
                  </a:lnTo>
                  <a:cubicBezTo>
                    <a:pt x="1696939" y="483803"/>
                    <a:pt x="1702134" y="478608"/>
                    <a:pt x="1702134" y="472198"/>
                  </a:cubicBezTo>
                  <a:cubicBezTo>
                    <a:pt x="1702134" y="465790"/>
                    <a:pt x="1696939" y="460593"/>
                    <a:pt x="1690529" y="460593"/>
                  </a:cubicBezTo>
                  <a:close/>
                  <a:moveTo>
                    <a:pt x="1827408" y="378162"/>
                  </a:moveTo>
                  <a:lnTo>
                    <a:pt x="1827408" y="462195"/>
                  </a:lnTo>
                  <a:cubicBezTo>
                    <a:pt x="1822750" y="463051"/>
                    <a:pt x="1819671" y="467266"/>
                    <a:pt x="1819671" y="472198"/>
                  </a:cubicBezTo>
                  <a:cubicBezTo>
                    <a:pt x="1819671" y="478608"/>
                    <a:pt x="1824868" y="483803"/>
                    <a:pt x="1831276" y="483803"/>
                  </a:cubicBezTo>
                  <a:cubicBezTo>
                    <a:pt x="1834417" y="483803"/>
                    <a:pt x="1837268" y="482556"/>
                    <a:pt x="1839306" y="480477"/>
                  </a:cubicBezTo>
                  <a:lnTo>
                    <a:pt x="1895114" y="511411"/>
                  </a:lnTo>
                  <a:lnTo>
                    <a:pt x="1898865" y="504645"/>
                  </a:lnTo>
                  <a:lnTo>
                    <a:pt x="1842406" y="473349"/>
                  </a:lnTo>
                  <a:lnTo>
                    <a:pt x="1842881" y="472198"/>
                  </a:lnTo>
                  <a:cubicBezTo>
                    <a:pt x="1842881" y="467266"/>
                    <a:pt x="1839804" y="463051"/>
                    <a:pt x="1835144" y="462195"/>
                  </a:cubicBezTo>
                  <a:lnTo>
                    <a:pt x="1835144" y="378162"/>
                  </a:lnTo>
                  <a:close/>
                  <a:moveTo>
                    <a:pt x="0" y="289498"/>
                  </a:moveTo>
                  <a:lnTo>
                    <a:pt x="199212" y="289498"/>
                  </a:lnTo>
                  <a:lnTo>
                    <a:pt x="199212" y="410527"/>
                  </a:lnTo>
                  <a:lnTo>
                    <a:pt x="121029" y="410527"/>
                  </a:lnTo>
                  <a:lnTo>
                    <a:pt x="121029" y="2095996"/>
                  </a:lnTo>
                  <a:lnTo>
                    <a:pt x="2036167" y="2095996"/>
                  </a:lnTo>
                  <a:lnTo>
                    <a:pt x="2036167" y="1999219"/>
                  </a:lnTo>
                  <a:lnTo>
                    <a:pt x="2157196" y="1999219"/>
                  </a:lnTo>
                  <a:lnTo>
                    <a:pt x="2157196" y="2217025"/>
                  </a:lnTo>
                  <a:lnTo>
                    <a:pt x="0" y="2217025"/>
                  </a:lnTo>
                  <a:close/>
                  <a:moveTo>
                    <a:pt x="1831276" y="282229"/>
                  </a:moveTo>
                  <a:cubicBezTo>
                    <a:pt x="1824868" y="282229"/>
                    <a:pt x="1819671" y="287426"/>
                    <a:pt x="1819671" y="293834"/>
                  </a:cubicBezTo>
                  <a:lnTo>
                    <a:pt x="1819671" y="332519"/>
                  </a:lnTo>
                  <a:cubicBezTo>
                    <a:pt x="1819671" y="338927"/>
                    <a:pt x="1824868" y="344124"/>
                    <a:pt x="1831276" y="344124"/>
                  </a:cubicBezTo>
                  <a:cubicBezTo>
                    <a:pt x="1837686" y="344124"/>
                    <a:pt x="1842881" y="338927"/>
                    <a:pt x="1842881" y="332519"/>
                  </a:cubicBezTo>
                  <a:lnTo>
                    <a:pt x="1842881" y="293834"/>
                  </a:lnTo>
                  <a:cubicBezTo>
                    <a:pt x="1842881" y="287426"/>
                    <a:pt x="1837686" y="282229"/>
                    <a:pt x="1831276" y="282229"/>
                  </a:cubicBezTo>
                  <a:close/>
                  <a:moveTo>
                    <a:pt x="497455" y="280359"/>
                  </a:moveTo>
                  <a:lnTo>
                    <a:pt x="1313803" y="280359"/>
                  </a:lnTo>
                  <a:lnTo>
                    <a:pt x="1313803" y="361877"/>
                  </a:lnTo>
                  <a:lnTo>
                    <a:pt x="497455" y="361877"/>
                  </a:lnTo>
                  <a:close/>
                  <a:moveTo>
                    <a:pt x="1833728" y="231095"/>
                  </a:moveTo>
                  <a:cubicBezTo>
                    <a:pt x="1967871" y="231095"/>
                    <a:pt x="2076615" y="339839"/>
                    <a:pt x="2076615" y="473982"/>
                  </a:cubicBezTo>
                  <a:cubicBezTo>
                    <a:pt x="2076615" y="608125"/>
                    <a:pt x="1967871" y="716869"/>
                    <a:pt x="1833728" y="716869"/>
                  </a:cubicBezTo>
                  <a:cubicBezTo>
                    <a:pt x="1699585" y="716869"/>
                    <a:pt x="1590841" y="608125"/>
                    <a:pt x="1590841" y="473982"/>
                  </a:cubicBezTo>
                  <a:cubicBezTo>
                    <a:pt x="1590841" y="339839"/>
                    <a:pt x="1699585" y="231095"/>
                    <a:pt x="1833728" y="231095"/>
                  </a:cubicBezTo>
                  <a:close/>
                  <a:moveTo>
                    <a:pt x="1833729" y="180609"/>
                  </a:moveTo>
                  <a:cubicBezTo>
                    <a:pt x="1671703" y="180609"/>
                    <a:pt x="1540355" y="311957"/>
                    <a:pt x="1540355" y="473983"/>
                  </a:cubicBezTo>
                  <a:cubicBezTo>
                    <a:pt x="1540355" y="636009"/>
                    <a:pt x="1671703" y="767357"/>
                    <a:pt x="1833729" y="767357"/>
                  </a:cubicBezTo>
                  <a:cubicBezTo>
                    <a:pt x="1995755" y="767357"/>
                    <a:pt x="2127103" y="636009"/>
                    <a:pt x="2127103" y="473983"/>
                  </a:cubicBezTo>
                  <a:cubicBezTo>
                    <a:pt x="2127103" y="311957"/>
                    <a:pt x="1995755" y="180609"/>
                    <a:pt x="1833729" y="180609"/>
                  </a:cubicBezTo>
                  <a:close/>
                  <a:moveTo>
                    <a:pt x="1833729" y="139234"/>
                  </a:moveTo>
                  <a:cubicBezTo>
                    <a:pt x="2018606" y="139234"/>
                    <a:pt x="2168478" y="289106"/>
                    <a:pt x="2168478" y="473983"/>
                  </a:cubicBezTo>
                  <a:cubicBezTo>
                    <a:pt x="2168478" y="658860"/>
                    <a:pt x="2018606" y="808732"/>
                    <a:pt x="1833729" y="808732"/>
                  </a:cubicBezTo>
                  <a:cubicBezTo>
                    <a:pt x="1648852" y="808732"/>
                    <a:pt x="1498980" y="658860"/>
                    <a:pt x="1498980" y="473983"/>
                  </a:cubicBezTo>
                  <a:cubicBezTo>
                    <a:pt x="1498980" y="289106"/>
                    <a:pt x="1648852" y="139234"/>
                    <a:pt x="1833729" y="139234"/>
                  </a:cubicBezTo>
                  <a:close/>
                  <a:moveTo>
                    <a:pt x="411119" y="121029"/>
                  </a:moveTo>
                  <a:lnTo>
                    <a:pt x="411119" y="1806498"/>
                  </a:lnTo>
                  <a:lnTo>
                    <a:pt x="2326257" y="1806498"/>
                  </a:lnTo>
                  <a:lnTo>
                    <a:pt x="2326257" y="121029"/>
                  </a:lnTo>
                  <a:close/>
                  <a:moveTo>
                    <a:pt x="290090" y="0"/>
                  </a:moveTo>
                  <a:lnTo>
                    <a:pt x="2447286" y="0"/>
                  </a:lnTo>
                  <a:lnTo>
                    <a:pt x="2447286" y="1927527"/>
                  </a:lnTo>
                  <a:lnTo>
                    <a:pt x="290090" y="1927527"/>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13932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p:cNvCxnSpPr/>
          <p:nvPr/>
        </p:nvCxnSpPr>
        <p:spPr>
          <a:xfrm>
            <a:off x="5822188" y="4547294"/>
            <a:ext cx="6124379" cy="0"/>
          </a:xfrm>
          <a:prstGeom prst="line">
            <a:avLst/>
          </a:prstGeom>
          <a:ln w="15875">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6" name="Object 25" hidden="1"/>
          <p:cNvGraphicFramePr>
            <a:graphicFrameLocks noChangeAspect="1"/>
          </p:cNvGraphicFramePr>
          <p:nvPr>
            <p:custDataLst>
              <p:tags r:id="rId2"/>
            </p:custDataLst>
            <p:extLst/>
          </p:nvPr>
        </p:nvGraphicFramePr>
        <p:xfrm>
          <a:off x="3353" y="2581"/>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353" y="2581"/>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Hybrid</a:t>
            </a:r>
            <a:br>
              <a:rPr lang="en-US" dirty="0" smtClean="0"/>
            </a:br>
            <a:r>
              <a:rPr lang="en-US" sz="3200" dirty="0" smtClean="0">
                <a:solidFill>
                  <a:schemeClr val="tx2"/>
                </a:solidFill>
              </a:rPr>
              <a:t>Easily connect to Power BI</a:t>
            </a:r>
            <a:endParaRPr lang="en-US" sz="4400" dirty="0">
              <a:solidFill>
                <a:schemeClr val="tx2"/>
              </a:solidFill>
            </a:endParaRPr>
          </a:p>
        </p:txBody>
      </p:sp>
      <p:sp>
        <p:nvSpPr>
          <p:cNvPr id="8" name="Text Placeholder 7"/>
          <p:cNvSpPr>
            <a:spLocks noGrp="1"/>
          </p:cNvSpPr>
          <p:nvPr>
            <p:ph type="body" sz="quarter" idx="10"/>
          </p:nvPr>
        </p:nvSpPr>
        <p:spPr>
          <a:xfrm>
            <a:off x="274639" y="2125662"/>
            <a:ext cx="5333998" cy="3207032"/>
          </a:xfrm>
        </p:spPr>
        <p:txBody>
          <a:bodyPr/>
          <a:lstStyle/>
          <a:p>
            <a:pPr lvl="2"/>
            <a:r>
              <a:rPr lang="en-US" sz="2800" dirty="0" smtClean="0">
                <a:latin typeface="+mj-lt"/>
              </a:rPr>
              <a:t>Faster time to insight with a </a:t>
            </a:r>
            <a:r>
              <a:rPr lang="en-US" sz="2800" b="1" dirty="0" smtClean="0"/>
              <a:t>hybrid BI </a:t>
            </a:r>
            <a:r>
              <a:rPr lang="en-US" sz="2800" dirty="0" smtClean="0">
                <a:latin typeface="+mj-lt"/>
              </a:rPr>
              <a:t>solution </a:t>
            </a:r>
          </a:p>
          <a:p>
            <a:pPr lvl="2"/>
            <a:r>
              <a:rPr lang="en-US" sz="2800" b="1" dirty="0"/>
              <a:t>Manage and secure data on-premises </a:t>
            </a:r>
            <a:r>
              <a:rPr lang="en-US" sz="2800" dirty="0" smtClean="0">
                <a:latin typeface="+mj-lt"/>
              </a:rPr>
              <a:t>with SQL Server Analysis Services</a:t>
            </a:r>
          </a:p>
          <a:p>
            <a:pPr lvl="2"/>
            <a:r>
              <a:rPr lang="en-US" sz="2800" b="1" dirty="0" smtClean="0"/>
              <a:t>Scheduled </a:t>
            </a:r>
            <a:r>
              <a:rPr lang="en-US" sz="2800" b="1" dirty="0"/>
              <a:t>refresh </a:t>
            </a:r>
            <a:r>
              <a:rPr lang="en-US" sz="2800" dirty="0" smtClean="0">
                <a:latin typeface="+mj-lt"/>
              </a:rPr>
              <a:t>of data stored in Power BI </a:t>
            </a:r>
            <a:endParaRPr lang="en-US" sz="2800" dirty="0">
              <a:latin typeface="+mj-lt"/>
            </a:endParaRPr>
          </a:p>
        </p:txBody>
      </p:sp>
      <p:sp>
        <p:nvSpPr>
          <p:cNvPr id="104" name="TextBox 103"/>
          <p:cNvSpPr txBox="1"/>
          <p:nvPr/>
        </p:nvSpPr>
        <p:spPr>
          <a:xfrm>
            <a:off x="6600918" y="5527658"/>
            <a:ext cx="1796817" cy="845901"/>
          </a:xfrm>
          <a:prstGeom prst="rect">
            <a:avLst/>
          </a:prstGeom>
          <a:noFill/>
        </p:spPr>
        <p:txBody>
          <a:bodyPr wrap="square" lIns="182828" tIns="146262" rIns="182828" bIns="146262" rtlCol="0" anchor="ctr">
            <a:noAutofit/>
          </a:bodyPr>
          <a:lstStyle/>
          <a:p>
            <a:pPr algn="ctr" defTabSz="931505" fontAlgn="base">
              <a:lnSpc>
                <a:spcPct val="90000"/>
              </a:lnSpc>
              <a:spcBef>
                <a:spcPct val="0"/>
              </a:spcBef>
              <a:spcAft>
                <a:spcPts val="600"/>
              </a:spcAft>
            </a:pPr>
            <a:r>
              <a:rPr lang="en-US" sz="1400" dirty="0" smtClean="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SQL Server </a:t>
            </a:r>
            <a:br>
              <a:rPr lang="en-US" sz="1400" dirty="0" smtClean="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br>
            <a:r>
              <a:rPr lang="en-US" sz="1400" dirty="0" smtClean="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Analysis Services</a:t>
            </a:r>
            <a:endParaRPr lang="en-US" sz="1400" dirty="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endParaRPr>
          </a:p>
        </p:txBody>
      </p:sp>
      <p:grpSp>
        <p:nvGrpSpPr>
          <p:cNvPr id="107" name="Group 106"/>
          <p:cNvGrpSpPr/>
          <p:nvPr/>
        </p:nvGrpSpPr>
        <p:grpSpPr>
          <a:xfrm>
            <a:off x="10640731" y="5296418"/>
            <a:ext cx="1470352" cy="865372"/>
            <a:chOff x="2927465" y="5236638"/>
            <a:chExt cx="1470768" cy="865618"/>
          </a:xfrm>
          <a:solidFill>
            <a:schemeClr val="accent1">
              <a:lumMod val="60000"/>
              <a:lumOff val="40000"/>
            </a:schemeClr>
          </a:solidFill>
        </p:grpSpPr>
        <p:sp>
          <p:nvSpPr>
            <p:cNvPr id="74" name="Freeform 73"/>
            <p:cNvSpPr>
              <a:spLocks noEditPoints="1"/>
            </p:cNvSpPr>
            <p:nvPr/>
          </p:nvSpPr>
          <p:spPr bwMode="auto">
            <a:xfrm>
              <a:off x="2927465" y="5236638"/>
              <a:ext cx="360348" cy="865616"/>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grp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75" name="Freeform 74"/>
            <p:cNvSpPr>
              <a:spLocks noEditPoints="1"/>
            </p:cNvSpPr>
            <p:nvPr/>
          </p:nvSpPr>
          <p:spPr bwMode="auto">
            <a:xfrm>
              <a:off x="3323066" y="5236638"/>
              <a:ext cx="321181" cy="865616"/>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grp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76" name="Freeform 75"/>
            <p:cNvSpPr>
              <a:spLocks noEditPoints="1"/>
            </p:cNvSpPr>
            <p:nvPr/>
          </p:nvSpPr>
          <p:spPr bwMode="auto">
            <a:xfrm>
              <a:off x="4077052" y="5424647"/>
              <a:ext cx="321181" cy="677609"/>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grp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sp>
          <p:nvSpPr>
            <p:cNvPr id="77" name="Freeform 76"/>
            <p:cNvSpPr>
              <a:spLocks noEditPoints="1"/>
            </p:cNvSpPr>
            <p:nvPr/>
          </p:nvSpPr>
          <p:spPr bwMode="auto">
            <a:xfrm>
              <a:off x="3679497" y="5365893"/>
              <a:ext cx="362307" cy="736363"/>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grpFill/>
            <a:ln>
              <a:noFill/>
            </a:ln>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grpSp>
      <p:sp>
        <p:nvSpPr>
          <p:cNvPr id="90" name="Freeform 89"/>
          <p:cNvSpPr>
            <a:spLocks/>
          </p:cNvSpPr>
          <p:nvPr/>
        </p:nvSpPr>
        <p:spPr bwMode="auto">
          <a:xfrm>
            <a:off x="6080341" y="6296847"/>
            <a:ext cx="6179550" cy="137568"/>
          </a:xfrm>
          <a:custGeom>
            <a:avLst/>
            <a:gdLst>
              <a:gd name="T0" fmla="*/ 2028 w 2087"/>
              <a:gd name="T1" fmla="*/ 139 h 139"/>
              <a:gd name="T2" fmla="*/ 59 w 2087"/>
              <a:gd name="T3" fmla="*/ 139 h 139"/>
              <a:gd name="T4" fmla="*/ 26 w 2087"/>
              <a:gd name="T5" fmla="*/ 65 h 139"/>
              <a:gd name="T6" fmla="*/ 73 w 2087"/>
              <a:gd name="T7" fmla="*/ 14 h 139"/>
              <a:gd name="T8" fmla="*/ 106 w 2087"/>
              <a:gd name="T9" fmla="*/ 0 h 139"/>
              <a:gd name="T10" fmla="*/ 1981 w 2087"/>
              <a:gd name="T11" fmla="*/ 0 h 139"/>
              <a:gd name="T12" fmla="*/ 2014 w 2087"/>
              <a:gd name="T13" fmla="*/ 14 h 139"/>
              <a:gd name="T14" fmla="*/ 2061 w 2087"/>
              <a:gd name="T15" fmla="*/ 65 h 139"/>
              <a:gd name="T16" fmla="*/ 2028 w 2087"/>
              <a:gd name="T17"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7" h="139">
                <a:moveTo>
                  <a:pt x="2028" y="139"/>
                </a:moveTo>
                <a:cubicBezTo>
                  <a:pt x="59" y="139"/>
                  <a:pt x="59" y="139"/>
                  <a:pt x="59" y="139"/>
                </a:cubicBezTo>
                <a:cubicBezTo>
                  <a:pt x="20" y="139"/>
                  <a:pt x="0" y="94"/>
                  <a:pt x="26" y="65"/>
                </a:cubicBezTo>
                <a:cubicBezTo>
                  <a:pt x="73" y="14"/>
                  <a:pt x="73" y="14"/>
                  <a:pt x="73" y="14"/>
                </a:cubicBezTo>
                <a:cubicBezTo>
                  <a:pt x="82" y="5"/>
                  <a:pt x="94" y="0"/>
                  <a:pt x="106" y="0"/>
                </a:cubicBezTo>
                <a:cubicBezTo>
                  <a:pt x="1981" y="0"/>
                  <a:pt x="1981" y="0"/>
                  <a:pt x="1981" y="0"/>
                </a:cubicBezTo>
                <a:cubicBezTo>
                  <a:pt x="1994" y="0"/>
                  <a:pt x="2006" y="5"/>
                  <a:pt x="2014" y="14"/>
                </a:cubicBezTo>
                <a:cubicBezTo>
                  <a:pt x="2061" y="65"/>
                  <a:pt x="2061" y="65"/>
                  <a:pt x="2061" y="65"/>
                </a:cubicBezTo>
                <a:cubicBezTo>
                  <a:pt x="2087" y="94"/>
                  <a:pt x="2067" y="139"/>
                  <a:pt x="2028" y="139"/>
                </a:cubicBezTo>
                <a:close/>
              </a:path>
            </a:pathLst>
          </a:custGeom>
          <a:solidFill>
            <a:srgbClr val="DDDC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dirty="0">
              <a:solidFill>
                <a:srgbClr val="000000"/>
              </a:solidFill>
            </a:endParaRPr>
          </a:p>
        </p:txBody>
      </p:sp>
      <p:sp>
        <p:nvSpPr>
          <p:cNvPr id="10" name="Freeform 9"/>
          <p:cNvSpPr>
            <a:spLocks/>
          </p:cNvSpPr>
          <p:nvPr/>
        </p:nvSpPr>
        <p:spPr bwMode="auto">
          <a:xfrm>
            <a:off x="9872769" y="1835042"/>
            <a:ext cx="1701532" cy="1045567"/>
          </a:xfrm>
          <a:custGeom>
            <a:avLst/>
            <a:gdLst>
              <a:gd name="T0" fmla="*/ 860 w 994"/>
              <a:gd name="T1" fmla="*/ 342 h 610"/>
              <a:gd name="T2" fmla="*/ 858 w 994"/>
              <a:gd name="T3" fmla="*/ 342 h 610"/>
              <a:gd name="T4" fmla="*/ 860 w 994"/>
              <a:gd name="T5" fmla="*/ 305 h 610"/>
              <a:gd name="T6" fmla="*/ 555 w 994"/>
              <a:gd name="T7" fmla="*/ 0 h 610"/>
              <a:gd name="T8" fmla="*/ 272 w 994"/>
              <a:gd name="T9" fmla="*/ 193 h 610"/>
              <a:gd name="T10" fmla="*/ 212 w 994"/>
              <a:gd name="T11" fmla="*/ 185 h 610"/>
              <a:gd name="T12" fmla="*/ 0 w 994"/>
              <a:gd name="T13" fmla="*/ 397 h 610"/>
              <a:gd name="T14" fmla="*/ 212 w 994"/>
              <a:gd name="T15" fmla="*/ 610 h 610"/>
              <a:gd name="T16" fmla="*/ 860 w 994"/>
              <a:gd name="T17" fmla="*/ 610 h 610"/>
              <a:gd name="T18" fmla="*/ 994 w 994"/>
              <a:gd name="T19" fmla="*/ 476 h 610"/>
              <a:gd name="T20" fmla="*/ 860 w 994"/>
              <a:gd name="T21" fmla="*/ 342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4" h="610">
                <a:moveTo>
                  <a:pt x="860" y="342"/>
                </a:moveTo>
                <a:cubicBezTo>
                  <a:pt x="859" y="342"/>
                  <a:pt x="858" y="342"/>
                  <a:pt x="858" y="342"/>
                </a:cubicBezTo>
                <a:cubicBezTo>
                  <a:pt x="859" y="330"/>
                  <a:pt x="860" y="318"/>
                  <a:pt x="860" y="305"/>
                </a:cubicBezTo>
                <a:cubicBezTo>
                  <a:pt x="860" y="137"/>
                  <a:pt x="723" y="0"/>
                  <a:pt x="555" y="0"/>
                </a:cubicBezTo>
                <a:cubicBezTo>
                  <a:pt x="426" y="0"/>
                  <a:pt x="316" y="80"/>
                  <a:pt x="272" y="193"/>
                </a:cubicBezTo>
                <a:cubicBezTo>
                  <a:pt x="253" y="188"/>
                  <a:pt x="233" y="185"/>
                  <a:pt x="212" y="185"/>
                </a:cubicBezTo>
                <a:cubicBezTo>
                  <a:pt x="95" y="185"/>
                  <a:pt x="0" y="280"/>
                  <a:pt x="0" y="397"/>
                </a:cubicBezTo>
                <a:cubicBezTo>
                  <a:pt x="0" y="515"/>
                  <a:pt x="95" y="610"/>
                  <a:pt x="212" y="610"/>
                </a:cubicBezTo>
                <a:cubicBezTo>
                  <a:pt x="860" y="610"/>
                  <a:pt x="860" y="610"/>
                  <a:pt x="860" y="610"/>
                </a:cubicBezTo>
                <a:cubicBezTo>
                  <a:pt x="934" y="610"/>
                  <a:pt x="994" y="550"/>
                  <a:pt x="994" y="476"/>
                </a:cubicBezTo>
                <a:cubicBezTo>
                  <a:pt x="994" y="402"/>
                  <a:pt x="934" y="342"/>
                  <a:pt x="860" y="342"/>
                </a:cubicBezTo>
                <a:close/>
              </a:path>
            </a:pathLst>
          </a:custGeom>
          <a:solidFill>
            <a:srgbClr val="6E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1863" fontAlgn="base">
              <a:spcBef>
                <a:spcPct val="0"/>
              </a:spcBef>
              <a:spcAft>
                <a:spcPct val="0"/>
              </a:spcAft>
            </a:pPr>
            <a:endParaRPr lang="en-US" sz="2400">
              <a:solidFill>
                <a:srgbClr val="000000"/>
              </a:solidFill>
              <a:ea typeface="MS PGothic" charset="0"/>
              <a:cs typeface="MS PGothic" charset="0"/>
            </a:endParaRPr>
          </a:p>
        </p:txBody>
      </p:sp>
      <p:sp>
        <p:nvSpPr>
          <p:cNvPr id="11" name="Freeform 10"/>
          <p:cNvSpPr>
            <a:spLocks/>
          </p:cNvSpPr>
          <p:nvPr/>
        </p:nvSpPr>
        <p:spPr bwMode="auto">
          <a:xfrm>
            <a:off x="10102388" y="2849922"/>
            <a:ext cx="1757343" cy="795277"/>
          </a:xfrm>
          <a:custGeom>
            <a:avLst/>
            <a:gdLst>
              <a:gd name="T0" fmla="*/ 951 w 1004"/>
              <a:gd name="T1" fmla="*/ 296 h 454"/>
              <a:gd name="T2" fmla="*/ 809 w 1004"/>
              <a:gd name="T3" fmla="*/ 168 h 454"/>
              <a:gd name="T4" fmla="*/ 730 w 1004"/>
              <a:gd name="T5" fmla="*/ 191 h 454"/>
              <a:gd name="T6" fmla="*/ 506 w 1004"/>
              <a:gd name="T7" fmla="*/ 0 h 454"/>
              <a:gd name="T8" fmla="*/ 286 w 1004"/>
              <a:gd name="T9" fmla="*/ 169 h 454"/>
              <a:gd name="T10" fmla="*/ 266 w 1004"/>
              <a:gd name="T11" fmla="*/ 168 h 454"/>
              <a:gd name="T12" fmla="*/ 133 w 1004"/>
              <a:gd name="T13" fmla="*/ 256 h 454"/>
              <a:gd name="T14" fmla="*/ 102 w 1004"/>
              <a:gd name="T15" fmla="*/ 251 h 454"/>
              <a:gd name="T16" fmla="*/ 0 w 1004"/>
              <a:gd name="T17" fmla="*/ 353 h 454"/>
              <a:gd name="T18" fmla="*/ 102 w 1004"/>
              <a:gd name="T19" fmla="*/ 454 h 454"/>
              <a:gd name="T20" fmla="*/ 921 w 1004"/>
              <a:gd name="T21" fmla="*/ 454 h 454"/>
              <a:gd name="T22" fmla="*/ 1004 w 1004"/>
              <a:gd name="T23" fmla="*/ 372 h 454"/>
              <a:gd name="T24" fmla="*/ 951 w 1004"/>
              <a:gd name="T25" fmla="*/ 29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4" h="454">
                <a:moveTo>
                  <a:pt x="951" y="296"/>
                </a:moveTo>
                <a:cubicBezTo>
                  <a:pt x="944" y="224"/>
                  <a:pt x="883" y="168"/>
                  <a:pt x="809" y="168"/>
                </a:cubicBezTo>
                <a:cubicBezTo>
                  <a:pt x="780" y="168"/>
                  <a:pt x="753" y="176"/>
                  <a:pt x="730" y="191"/>
                </a:cubicBezTo>
                <a:cubicBezTo>
                  <a:pt x="713" y="83"/>
                  <a:pt x="619" y="0"/>
                  <a:pt x="506" y="0"/>
                </a:cubicBezTo>
                <a:cubicBezTo>
                  <a:pt x="401" y="0"/>
                  <a:pt x="312" y="72"/>
                  <a:pt x="286" y="169"/>
                </a:cubicBezTo>
                <a:cubicBezTo>
                  <a:pt x="280" y="168"/>
                  <a:pt x="273" y="168"/>
                  <a:pt x="266" y="168"/>
                </a:cubicBezTo>
                <a:cubicBezTo>
                  <a:pt x="206" y="168"/>
                  <a:pt x="155" y="204"/>
                  <a:pt x="133" y="256"/>
                </a:cubicBezTo>
                <a:cubicBezTo>
                  <a:pt x="123" y="253"/>
                  <a:pt x="113" y="251"/>
                  <a:pt x="102" y="251"/>
                </a:cubicBezTo>
                <a:cubicBezTo>
                  <a:pt x="45" y="251"/>
                  <a:pt x="0" y="297"/>
                  <a:pt x="0" y="353"/>
                </a:cubicBezTo>
                <a:cubicBezTo>
                  <a:pt x="0" y="409"/>
                  <a:pt x="45" y="454"/>
                  <a:pt x="102" y="454"/>
                </a:cubicBezTo>
                <a:cubicBezTo>
                  <a:pt x="921" y="454"/>
                  <a:pt x="921" y="454"/>
                  <a:pt x="921" y="454"/>
                </a:cubicBezTo>
                <a:cubicBezTo>
                  <a:pt x="967" y="454"/>
                  <a:pt x="1004" y="417"/>
                  <a:pt x="1004" y="372"/>
                </a:cubicBezTo>
                <a:cubicBezTo>
                  <a:pt x="1004" y="337"/>
                  <a:pt x="982" y="308"/>
                  <a:pt x="951" y="296"/>
                </a:cubicBezTo>
                <a:close/>
              </a:path>
            </a:pathLst>
          </a:custGeom>
          <a:solidFill>
            <a:srgbClr val="6E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endParaRPr lang="en-US">
              <a:solidFill>
                <a:srgbClr val="000000"/>
              </a:solidFill>
            </a:endParaRPr>
          </a:p>
        </p:txBody>
      </p:sp>
      <p:pic>
        <p:nvPicPr>
          <p:cNvPr id="14" name="Picture 13"/>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831538" y="2015353"/>
            <a:ext cx="2619301" cy="1473357"/>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5684837" y="1973262"/>
            <a:ext cx="1965031" cy="1330714"/>
          </a:xfrm>
          <a:prstGeom prst="rect">
            <a:avLst/>
          </a:prstGeom>
          <a:noFill/>
        </p:spPr>
        <p:txBody>
          <a:bodyPr wrap="square" lIns="182828" tIns="146262" rIns="182828" bIns="146262" rtlCol="0" anchor="ctr">
            <a:noAutofit/>
          </a:bodyPr>
          <a:lstStyle/>
          <a:p>
            <a:pPr algn="r" defTabSz="931505" fontAlgn="base">
              <a:lnSpc>
                <a:spcPct val="90000"/>
              </a:lnSpc>
              <a:spcBef>
                <a:spcPct val="0"/>
              </a:spcBef>
              <a:spcAft>
                <a:spcPts val="600"/>
              </a:spcAft>
            </a:pPr>
            <a:r>
              <a:rPr lang="en-US" sz="1600" dirty="0" smtClean="0">
                <a:solidFill>
                  <a:srgbClr val="505050"/>
                </a:solidFill>
                <a:latin typeface="Segoe UI Semibold" panose="020B0702040204020203" pitchFamily="34" charset="0"/>
                <a:ea typeface="MS PGothic" charset="0"/>
                <a:cs typeface="Segoe UI Semibold" panose="020B0702040204020203" pitchFamily="34" charset="0"/>
              </a:rPr>
              <a:t>Live Power </a:t>
            </a:r>
            <a:r>
              <a:rPr lang="en-US" sz="1600" dirty="0">
                <a:solidFill>
                  <a:srgbClr val="505050"/>
                </a:solidFill>
                <a:latin typeface="Segoe UI Semibold" panose="020B0702040204020203" pitchFamily="34" charset="0"/>
                <a:ea typeface="MS PGothic" charset="0"/>
                <a:cs typeface="Segoe UI Semibold" panose="020B0702040204020203" pitchFamily="34" charset="0"/>
              </a:rPr>
              <a:t>BI reports </a:t>
            </a:r>
            <a:r>
              <a:rPr lang="en-US" sz="1600" dirty="0" smtClean="0">
                <a:solidFill>
                  <a:srgbClr val="505050"/>
                </a:solidFill>
                <a:latin typeface="Segoe UI Semibold" panose="020B0702040204020203" pitchFamily="34" charset="0"/>
                <a:ea typeface="MS PGothic" charset="0"/>
                <a:cs typeface="Segoe UI Semibold" panose="020B0702040204020203" pitchFamily="34" charset="0"/>
              </a:rPr>
              <a:t>&amp; </a:t>
            </a:r>
            <a:r>
              <a:rPr lang="en-US" sz="1600" dirty="0">
                <a:solidFill>
                  <a:srgbClr val="505050"/>
                </a:solidFill>
                <a:latin typeface="Segoe UI Semibold" panose="020B0702040204020203" pitchFamily="34" charset="0"/>
                <a:ea typeface="MS PGothic" charset="0"/>
                <a:cs typeface="Segoe UI Semibold" panose="020B0702040204020203" pitchFamily="34" charset="0"/>
              </a:rPr>
              <a:t>dashboards</a:t>
            </a:r>
          </a:p>
        </p:txBody>
      </p:sp>
      <p:sp>
        <p:nvSpPr>
          <p:cNvPr id="106" name="TextBox 105"/>
          <p:cNvSpPr txBox="1"/>
          <p:nvPr/>
        </p:nvSpPr>
        <p:spPr>
          <a:xfrm>
            <a:off x="7161944" y="3765092"/>
            <a:ext cx="572464" cy="443198"/>
          </a:xfrm>
          <a:prstGeom prst="rect">
            <a:avLst/>
          </a:prstGeom>
          <a:noFill/>
        </p:spPr>
        <p:txBody>
          <a:bodyPr wrap="none" lIns="0" tIns="0" rIns="0" bIns="0" rtlCol="0" anchor="t">
            <a:spAutoFit/>
          </a:bodyPr>
          <a:lstStyle/>
          <a:p>
            <a:pPr defTabSz="931505" fontAlgn="base">
              <a:lnSpc>
                <a:spcPct val="90000"/>
              </a:lnSpc>
              <a:spcBef>
                <a:spcPct val="0"/>
              </a:spcBef>
              <a:spcAft>
                <a:spcPts val="600"/>
              </a:spcAft>
            </a:pPr>
            <a:r>
              <a:rPr lang="en-US" sz="1600" dirty="0" smtClean="0">
                <a:solidFill>
                  <a:srgbClr val="0078D7">
                    <a:lumMod val="60000"/>
                    <a:lumOff val="40000"/>
                  </a:srgbClr>
                </a:solidFill>
                <a:latin typeface="Segoe UI Semibold" panose="020B0702040204020203" pitchFamily="34" charset="0"/>
                <a:ea typeface="MS PGothic" charset="0"/>
                <a:cs typeface="Segoe UI Semibold" panose="020B0702040204020203" pitchFamily="34" charset="0"/>
              </a:rPr>
              <a:t>Live</a:t>
            </a:r>
            <a:br>
              <a:rPr lang="en-US" sz="1600" dirty="0" smtClean="0">
                <a:solidFill>
                  <a:srgbClr val="0078D7">
                    <a:lumMod val="60000"/>
                    <a:lumOff val="40000"/>
                  </a:srgbClr>
                </a:solidFill>
                <a:latin typeface="Segoe UI Semibold" panose="020B0702040204020203" pitchFamily="34" charset="0"/>
                <a:ea typeface="MS PGothic" charset="0"/>
                <a:cs typeface="Segoe UI Semibold" panose="020B0702040204020203" pitchFamily="34" charset="0"/>
              </a:rPr>
            </a:br>
            <a:r>
              <a:rPr lang="en-US" sz="1600" dirty="0" smtClean="0">
                <a:solidFill>
                  <a:srgbClr val="0078D7">
                    <a:lumMod val="60000"/>
                    <a:lumOff val="40000"/>
                  </a:srgbClr>
                </a:solidFill>
                <a:latin typeface="Segoe UI Semibold" panose="020B0702040204020203" pitchFamily="34" charset="0"/>
                <a:ea typeface="MS PGothic" charset="0"/>
                <a:cs typeface="Segoe UI Semibold" panose="020B0702040204020203" pitchFamily="34" charset="0"/>
              </a:rPr>
              <a:t>Query</a:t>
            </a:r>
            <a:endParaRPr lang="en-US" sz="1600" dirty="0">
              <a:solidFill>
                <a:srgbClr val="0078D7">
                  <a:lumMod val="60000"/>
                  <a:lumOff val="40000"/>
                </a:srgbClr>
              </a:solidFill>
              <a:latin typeface="Segoe UI Semibold" panose="020B0702040204020203" pitchFamily="34" charset="0"/>
              <a:ea typeface="MS PGothic" charset="0"/>
              <a:cs typeface="Segoe UI Semibold" panose="020B0702040204020203" pitchFamily="34" charset="0"/>
            </a:endParaRPr>
          </a:p>
        </p:txBody>
      </p:sp>
      <p:sp>
        <p:nvSpPr>
          <p:cNvPr id="109" name="Freeform 23"/>
          <p:cNvSpPr>
            <a:spLocks noEditPoints="1"/>
          </p:cNvSpPr>
          <p:nvPr/>
        </p:nvSpPr>
        <p:spPr bwMode="black">
          <a:xfrm>
            <a:off x="7068636" y="5034792"/>
            <a:ext cx="672543" cy="657854"/>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chemeClr val="accent1">
              <a:lumMod val="60000"/>
              <a:lumOff val="40000"/>
            </a:schemeClr>
          </a:solidFill>
          <a:ln>
            <a:noFill/>
          </a:ln>
        </p:spPr>
        <p:txBody>
          <a:bodyPr vert="horz" wrap="square" lIns="82281" tIns="41141" rIns="82281" bIns="41141" numCol="1" anchor="t" anchorCtr="0" compatLnSpc="1">
            <a:prstTxWarp prst="textNoShape">
              <a:avLst/>
            </a:prstTxWarp>
          </a:bodyPr>
          <a:lstStyle/>
          <a:p>
            <a:pPr defTabSz="932384"/>
            <a:endParaRPr lang="en-US" sz="1598" dirty="0">
              <a:ln>
                <a:solidFill>
                  <a:srgbClr val="FFFFFF">
                    <a:alpha val="0"/>
                  </a:srgbClr>
                </a:solidFill>
              </a:ln>
              <a:solidFill>
                <a:srgbClr val="000000"/>
              </a:solidFill>
            </a:endParaRPr>
          </a:p>
        </p:txBody>
      </p:sp>
      <p:sp>
        <p:nvSpPr>
          <p:cNvPr id="32" name="TextBox 31"/>
          <p:cNvSpPr txBox="1"/>
          <p:nvPr/>
        </p:nvSpPr>
        <p:spPr>
          <a:xfrm>
            <a:off x="9239397" y="3814701"/>
            <a:ext cx="1022716" cy="443198"/>
          </a:xfrm>
          <a:prstGeom prst="rect">
            <a:avLst/>
          </a:prstGeom>
          <a:noFill/>
        </p:spPr>
        <p:txBody>
          <a:bodyPr wrap="none" lIns="0" tIns="0" rIns="0" bIns="0" rtlCol="0" anchor="t">
            <a:spAutoFit/>
          </a:bodyPr>
          <a:lstStyle/>
          <a:p>
            <a:pPr defTabSz="931505" fontAlgn="base">
              <a:lnSpc>
                <a:spcPct val="90000"/>
              </a:lnSpc>
              <a:spcBef>
                <a:spcPct val="0"/>
              </a:spcBef>
              <a:spcAft>
                <a:spcPts val="600"/>
              </a:spcAft>
            </a:pPr>
            <a:r>
              <a:rPr lang="en-US" sz="1600" dirty="0" smtClean="0">
                <a:solidFill>
                  <a:srgbClr val="0078D7">
                    <a:lumMod val="60000"/>
                    <a:lumOff val="40000"/>
                  </a:srgbClr>
                </a:solidFill>
                <a:latin typeface="Segoe UI Semibold" panose="020B0702040204020203" pitchFamily="34" charset="0"/>
                <a:ea typeface="MS PGothic" charset="0"/>
                <a:cs typeface="Segoe UI Semibold" panose="020B0702040204020203" pitchFamily="34" charset="0"/>
              </a:rPr>
              <a:t>Scheduled </a:t>
            </a:r>
            <a:br>
              <a:rPr lang="en-US" sz="1600" dirty="0" smtClean="0">
                <a:solidFill>
                  <a:srgbClr val="0078D7">
                    <a:lumMod val="60000"/>
                    <a:lumOff val="40000"/>
                  </a:srgbClr>
                </a:solidFill>
                <a:latin typeface="Segoe UI Semibold" panose="020B0702040204020203" pitchFamily="34" charset="0"/>
                <a:ea typeface="MS PGothic" charset="0"/>
                <a:cs typeface="Segoe UI Semibold" panose="020B0702040204020203" pitchFamily="34" charset="0"/>
              </a:rPr>
            </a:br>
            <a:r>
              <a:rPr lang="en-US" sz="1600" dirty="0" smtClean="0">
                <a:solidFill>
                  <a:srgbClr val="0078D7">
                    <a:lumMod val="60000"/>
                    <a:lumOff val="40000"/>
                  </a:srgbClr>
                </a:solidFill>
                <a:latin typeface="Segoe UI Semibold" panose="020B0702040204020203" pitchFamily="34" charset="0"/>
                <a:ea typeface="MS PGothic" charset="0"/>
                <a:cs typeface="Segoe UI Semibold" panose="020B0702040204020203" pitchFamily="34" charset="0"/>
              </a:rPr>
              <a:t>Refresh</a:t>
            </a:r>
            <a:endParaRPr lang="en-US" sz="1600" dirty="0">
              <a:solidFill>
                <a:srgbClr val="0078D7">
                  <a:lumMod val="60000"/>
                  <a:lumOff val="40000"/>
                </a:srgbClr>
              </a:solidFill>
              <a:latin typeface="Segoe UI Semibold" panose="020B0702040204020203" pitchFamily="34" charset="0"/>
              <a:ea typeface="MS PGothic" charset="0"/>
              <a:cs typeface="Segoe UI Semibold" panose="020B0702040204020203" pitchFamily="34" charset="0"/>
            </a:endParaRPr>
          </a:p>
        </p:txBody>
      </p:sp>
      <p:sp>
        <p:nvSpPr>
          <p:cNvPr id="36" name="Freeform 5"/>
          <p:cNvSpPr>
            <a:spLocks noEditPoints="1"/>
          </p:cNvSpPr>
          <p:nvPr/>
        </p:nvSpPr>
        <p:spPr bwMode="auto">
          <a:xfrm>
            <a:off x="9166558" y="5049744"/>
            <a:ext cx="599842" cy="641463"/>
          </a:xfrm>
          <a:custGeom>
            <a:avLst/>
            <a:gdLst>
              <a:gd name="T0" fmla="*/ 1460 w 1460"/>
              <a:gd name="T1" fmla="*/ 384 h 1615"/>
              <a:gd name="T2" fmla="*/ 1460 w 1460"/>
              <a:gd name="T3" fmla="*/ 1359 h 1615"/>
              <a:gd name="T4" fmla="*/ 1460 w 1460"/>
              <a:gd name="T5" fmla="*/ 1359 h 1615"/>
              <a:gd name="T6" fmla="*/ 730 w 1460"/>
              <a:gd name="T7" fmla="*/ 1615 h 1615"/>
              <a:gd name="T8" fmla="*/ 0 w 1460"/>
              <a:gd name="T9" fmla="*/ 1359 h 1615"/>
              <a:gd name="T10" fmla="*/ 0 w 1460"/>
              <a:gd name="T11" fmla="*/ 1359 h 1615"/>
              <a:gd name="T12" fmla="*/ 0 w 1460"/>
              <a:gd name="T13" fmla="*/ 1359 h 1615"/>
              <a:gd name="T14" fmla="*/ 0 w 1460"/>
              <a:gd name="T15" fmla="*/ 1339 h 1615"/>
              <a:gd name="T16" fmla="*/ 0 w 1460"/>
              <a:gd name="T17" fmla="*/ 1329 h 1615"/>
              <a:gd name="T18" fmla="*/ 0 w 1460"/>
              <a:gd name="T19" fmla="*/ 394 h 1615"/>
              <a:gd name="T20" fmla="*/ 730 w 1460"/>
              <a:gd name="T21" fmla="*/ 591 h 1615"/>
              <a:gd name="T22" fmla="*/ 1460 w 1460"/>
              <a:gd name="T23" fmla="*/ 384 h 1615"/>
              <a:gd name="T24" fmla="*/ 730 w 1460"/>
              <a:gd name="T25" fmla="*/ 541 h 1615"/>
              <a:gd name="T26" fmla="*/ 1460 w 1460"/>
              <a:gd name="T27" fmla="*/ 275 h 1615"/>
              <a:gd name="T28" fmla="*/ 730 w 1460"/>
              <a:gd name="T29" fmla="*/ 0 h 1615"/>
              <a:gd name="T30" fmla="*/ 0 w 1460"/>
              <a:gd name="T31" fmla="*/ 275 h 1615"/>
              <a:gd name="T32" fmla="*/ 730 w 1460"/>
              <a:gd name="T33" fmla="*/ 541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0" h="1615">
                <a:moveTo>
                  <a:pt x="1460" y="384"/>
                </a:moveTo>
                <a:cubicBezTo>
                  <a:pt x="1460" y="1359"/>
                  <a:pt x="1460" y="1359"/>
                  <a:pt x="1460" y="1359"/>
                </a:cubicBezTo>
                <a:cubicBezTo>
                  <a:pt x="1460" y="1359"/>
                  <a:pt x="1460" y="1359"/>
                  <a:pt x="1460" y="1359"/>
                </a:cubicBezTo>
                <a:cubicBezTo>
                  <a:pt x="1431" y="1507"/>
                  <a:pt x="1115" y="1615"/>
                  <a:pt x="730" y="1615"/>
                </a:cubicBezTo>
                <a:cubicBezTo>
                  <a:pt x="346" y="1615"/>
                  <a:pt x="30" y="1507"/>
                  <a:pt x="0" y="1359"/>
                </a:cubicBezTo>
                <a:cubicBezTo>
                  <a:pt x="0" y="1359"/>
                  <a:pt x="0" y="1359"/>
                  <a:pt x="0" y="1359"/>
                </a:cubicBezTo>
                <a:cubicBezTo>
                  <a:pt x="0" y="1359"/>
                  <a:pt x="0" y="1359"/>
                  <a:pt x="0" y="1359"/>
                </a:cubicBezTo>
                <a:cubicBezTo>
                  <a:pt x="0" y="1349"/>
                  <a:pt x="0" y="1349"/>
                  <a:pt x="0" y="1339"/>
                </a:cubicBezTo>
                <a:cubicBezTo>
                  <a:pt x="0" y="1339"/>
                  <a:pt x="0" y="1339"/>
                  <a:pt x="0" y="1329"/>
                </a:cubicBezTo>
                <a:cubicBezTo>
                  <a:pt x="0" y="394"/>
                  <a:pt x="0" y="394"/>
                  <a:pt x="0" y="394"/>
                </a:cubicBezTo>
                <a:cubicBezTo>
                  <a:pt x="119" y="522"/>
                  <a:pt x="434" y="591"/>
                  <a:pt x="730" y="591"/>
                </a:cubicBezTo>
                <a:cubicBezTo>
                  <a:pt x="1026" y="591"/>
                  <a:pt x="1342" y="522"/>
                  <a:pt x="1460" y="384"/>
                </a:cubicBezTo>
                <a:close/>
                <a:moveTo>
                  <a:pt x="730" y="541"/>
                </a:moveTo>
                <a:cubicBezTo>
                  <a:pt x="1135" y="541"/>
                  <a:pt x="1460" y="423"/>
                  <a:pt x="1460" y="275"/>
                </a:cubicBezTo>
                <a:cubicBezTo>
                  <a:pt x="1460" y="128"/>
                  <a:pt x="1135" y="0"/>
                  <a:pt x="730" y="0"/>
                </a:cubicBezTo>
                <a:cubicBezTo>
                  <a:pt x="326" y="0"/>
                  <a:pt x="0" y="128"/>
                  <a:pt x="0" y="275"/>
                </a:cubicBezTo>
                <a:cubicBezTo>
                  <a:pt x="0" y="423"/>
                  <a:pt x="326" y="541"/>
                  <a:pt x="730" y="541"/>
                </a:cubicBezTo>
                <a:close/>
              </a:path>
            </a:pathLst>
          </a:custGeom>
          <a:solidFill>
            <a:schemeClr val="accent1">
              <a:lumMod val="60000"/>
              <a:lumOff val="40000"/>
            </a:schemeClr>
          </a:solidFill>
          <a:ln>
            <a:noFill/>
          </a:ln>
          <a:extLst/>
        </p:spPr>
        <p:txBody>
          <a:bodyPr vert="horz" wrap="square" lIns="89617" tIns="44808" rIns="89617" bIns="44808" numCol="1" anchor="t" anchorCtr="0" compatLnSpc="1">
            <a:prstTxWarp prst="textNoShape">
              <a:avLst/>
            </a:prstTxWarp>
          </a:bodyPr>
          <a:lstStyle/>
          <a:p>
            <a:pPr defTabSz="914016"/>
            <a:endParaRPr lang="en-US" sz="1765">
              <a:solidFill>
                <a:srgbClr val="505050"/>
              </a:solidFill>
            </a:endParaRPr>
          </a:p>
        </p:txBody>
      </p:sp>
      <p:sp>
        <p:nvSpPr>
          <p:cNvPr id="13" name="TextBox 12"/>
          <p:cNvSpPr txBox="1"/>
          <p:nvPr/>
        </p:nvSpPr>
        <p:spPr>
          <a:xfrm>
            <a:off x="5822188" y="4260309"/>
            <a:ext cx="1761344" cy="195027"/>
          </a:xfrm>
          <a:prstGeom prst="rect">
            <a:avLst/>
          </a:prstGeom>
          <a:noFill/>
        </p:spPr>
        <p:txBody>
          <a:bodyPr wrap="square" lIns="182880" tIns="146304" rIns="182880" bIns="146304" rtlCol="0" anchor="ctr">
            <a:noAutofit/>
          </a:bodyPr>
          <a:lstStyle/>
          <a:p>
            <a:pPr>
              <a:lnSpc>
                <a:spcPct val="90000"/>
              </a:lnSpc>
              <a:spcAft>
                <a:spcPts val="600"/>
              </a:spcAft>
            </a:pPr>
            <a:r>
              <a:rPr lang="en-US" sz="1200" dirty="0" smtClean="0">
                <a:solidFill>
                  <a:srgbClr val="505050"/>
                </a:solidFill>
              </a:rPr>
              <a:t>Cloud</a:t>
            </a:r>
          </a:p>
        </p:txBody>
      </p:sp>
      <p:sp>
        <p:nvSpPr>
          <p:cNvPr id="53" name="TextBox 52"/>
          <p:cNvSpPr txBox="1"/>
          <p:nvPr/>
        </p:nvSpPr>
        <p:spPr>
          <a:xfrm>
            <a:off x="5814693" y="4665098"/>
            <a:ext cx="1761344" cy="195027"/>
          </a:xfrm>
          <a:prstGeom prst="rect">
            <a:avLst/>
          </a:prstGeom>
          <a:noFill/>
        </p:spPr>
        <p:txBody>
          <a:bodyPr wrap="square" lIns="182880" tIns="146304" rIns="182880" bIns="146304" rtlCol="0" anchor="ctr">
            <a:noAutofit/>
          </a:bodyPr>
          <a:lstStyle/>
          <a:p>
            <a:pPr>
              <a:lnSpc>
                <a:spcPct val="90000"/>
              </a:lnSpc>
              <a:spcAft>
                <a:spcPts val="600"/>
              </a:spcAft>
            </a:pPr>
            <a:r>
              <a:rPr lang="en-US" sz="1200" dirty="0" smtClean="0">
                <a:solidFill>
                  <a:srgbClr val="505050"/>
                </a:solidFill>
              </a:rPr>
              <a:t>On-premises</a:t>
            </a:r>
          </a:p>
        </p:txBody>
      </p:sp>
      <p:sp>
        <p:nvSpPr>
          <p:cNvPr id="54" name="TextBox 53"/>
          <p:cNvSpPr txBox="1"/>
          <p:nvPr/>
        </p:nvSpPr>
        <p:spPr>
          <a:xfrm>
            <a:off x="7921016" y="5527658"/>
            <a:ext cx="3060044" cy="845901"/>
          </a:xfrm>
          <a:prstGeom prst="rect">
            <a:avLst/>
          </a:prstGeom>
          <a:noFill/>
        </p:spPr>
        <p:txBody>
          <a:bodyPr wrap="square" lIns="182828" tIns="146262" rIns="182828" bIns="146262" rtlCol="0" anchor="ctr">
            <a:noAutofit/>
          </a:bodyPr>
          <a:lstStyle/>
          <a:p>
            <a:pPr algn="ctr" defTabSz="931505" fontAlgn="base">
              <a:lnSpc>
                <a:spcPct val="90000"/>
              </a:lnSpc>
              <a:spcBef>
                <a:spcPct val="0"/>
              </a:spcBef>
              <a:spcAft>
                <a:spcPts val="600"/>
              </a:spcAft>
            </a:pPr>
            <a:r>
              <a:rPr lang="en-US" sz="1400" dirty="0" smtClean="0">
                <a:gradFill>
                  <a:gsLst>
                    <a:gs pos="72566">
                      <a:srgbClr val="505050"/>
                    </a:gs>
                    <a:gs pos="43000">
                      <a:srgbClr val="505050"/>
                    </a:gs>
                  </a:gsLst>
                  <a:lin ang="5400000" scaled="0"/>
                </a:gradFill>
                <a:latin typeface="Segoe UI Semibold" panose="020B0702040204020203" pitchFamily="34" charset="0"/>
                <a:ea typeface="MS PGothic" charset="0"/>
                <a:cs typeface="Segoe UI Semibold" panose="020B0702040204020203" pitchFamily="34" charset="0"/>
              </a:rPr>
              <a:t>Data</a:t>
            </a:r>
          </a:p>
        </p:txBody>
      </p:sp>
      <p:sp>
        <p:nvSpPr>
          <p:cNvPr id="6" name="Oval 5"/>
          <p:cNvSpPr/>
          <p:nvPr/>
        </p:nvSpPr>
        <p:spPr bwMode="auto">
          <a:xfrm>
            <a:off x="7221280" y="4387141"/>
            <a:ext cx="367254" cy="367254"/>
          </a:xfrm>
          <a:prstGeom prst="ellipse">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37" name="Freeform 5"/>
          <p:cNvSpPr>
            <a:spLocks noEditPoints="1"/>
          </p:cNvSpPr>
          <p:nvPr/>
        </p:nvSpPr>
        <p:spPr bwMode="auto">
          <a:xfrm>
            <a:off x="7211135" y="4366371"/>
            <a:ext cx="387544" cy="38769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a:solidFill>
                <a:srgbClr val="FFFFFF"/>
              </a:solidFill>
              <a:latin typeface="Segoe UI Light"/>
              <a:ea typeface="Segoe UI" pitchFamily="34" charset="0"/>
              <a:cs typeface="Segoe UI" pitchFamily="34" charset="0"/>
            </a:endParaRPr>
          </a:p>
        </p:txBody>
      </p:sp>
      <p:sp>
        <p:nvSpPr>
          <p:cNvPr id="41" name="Oval 40"/>
          <p:cNvSpPr/>
          <p:nvPr/>
        </p:nvSpPr>
        <p:spPr bwMode="auto">
          <a:xfrm>
            <a:off x="9282852" y="4387141"/>
            <a:ext cx="367254" cy="367254"/>
          </a:xfrm>
          <a:prstGeom prst="ellipse">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fontAlgn="base">
              <a:lnSpc>
                <a:spcPct val="90000"/>
              </a:lnSpc>
              <a:spcBef>
                <a:spcPct val="0"/>
              </a:spcBef>
              <a:spcAft>
                <a:spcPct val="0"/>
              </a:spcAft>
              <a:buFont typeface="Wingdings 3" panose="05040102010807070707" pitchFamily="18" charset="2"/>
              <a:buChar char="Æ"/>
            </a:pPr>
            <a:endParaRPr lang="en-US" sz="2000" b="1" dirty="0" err="1" smtClean="0">
              <a:solidFill>
                <a:srgbClr val="FFFFFF"/>
              </a:solidFill>
              <a:latin typeface="Segoe UI Light"/>
              <a:ea typeface="Segoe UI" pitchFamily="34" charset="0"/>
              <a:cs typeface="Segoe UI" pitchFamily="34" charset="0"/>
            </a:endParaRPr>
          </a:p>
        </p:txBody>
      </p:sp>
      <p:sp>
        <p:nvSpPr>
          <p:cNvPr id="42" name="Freeform 5"/>
          <p:cNvSpPr>
            <a:spLocks noEditPoints="1"/>
          </p:cNvSpPr>
          <p:nvPr/>
        </p:nvSpPr>
        <p:spPr bwMode="auto">
          <a:xfrm>
            <a:off x="9272707" y="4366371"/>
            <a:ext cx="387544" cy="387692"/>
          </a:xfrm>
          <a:custGeom>
            <a:avLst/>
            <a:gdLst>
              <a:gd name="T0" fmla="*/ 1131 w 2204"/>
              <a:gd name="T1" fmla="*/ 1075 h 2204"/>
              <a:gd name="T2" fmla="*/ 849 w 2204"/>
              <a:gd name="T3" fmla="*/ 764 h 2204"/>
              <a:gd name="T4" fmla="*/ 849 w 2204"/>
              <a:gd name="T5" fmla="*/ 1470 h 2204"/>
              <a:gd name="T6" fmla="*/ 645 w 2204"/>
              <a:gd name="T7" fmla="*/ 1470 h 2204"/>
              <a:gd name="T8" fmla="*/ 645 w 2204"/>
              <a:gd name="T9" fmla="*/ 764 h 2204"/>
              <a:gd name="T10" fmla="*/ 344 w 2204"/>
              <a:gd name="T11" fmla="*/ 1075 h 2204"/>
              <a:gd name="T12" fmla="*/ 344 w 2204"/>
              <a:gd name="T13" fmla="*/ 819 h 2204"/>
              <a:gd name="T14" fmla="*/ 738 w 2204"/>
              <a:gd name="T15" fmla="*/ 397 h 2204"/>
              <a:gd name="T16" fmla="*/ 1131 w 2204"/>
              <a:gd name="T17" fmla="*/ 819 h 2204"/>
              <a:gd name="T18" fmla="*/ 1131 w 2204"/>
              <a:gd name="T19" fmla="*/ 1075 h 2204"/>
              <a:gd name="T20" fmla="*/ 1802 w 2204"/>
              <a:gd name="T21" fmla="*/ 1194 h 2204"/>
              <a:gd name="T22" fmla="*/ 1519 w 2204"/>
              <a:gd name="T23" fmla="*/ 1505 h 2204"/>
              <a:gd name="T24" fmla="*/ 1519 w 2204"/>
              <a:gd name="T25" fmla="*/ 799 h 2204"/>
              <a:gd name="T26" fmla="*/ 1316 w 2204"/>
              <a:gd name="T27" fmla="*/ 799 h 2204"/>
              <a:gd name="T28" fmla="*/ 1316 w 2204"/>
              <a:gd name="T29" fmla="*/ 1505 h 2204"/>
              <a:gd name="T30" fmla="*/ 1015 w 2204"/>
              <a:gd name="T31" fmla="*/ 1194 h 2204"/>
              <a:gd name="T32" fmla="*/ 1015 w 2204"/>
              <a:gd name="T33" fmla="*/ 1449 h 2204"/>
              <a:gd name="T34" fmla="*/ 1408 w 2204"/>
              <a:gd name="T35" fmla="*/ 1872 h 2204"/>
              <a:gd name="T36" fmla="*/ 1802 w 2204"/>
              <a:gd name="T37" fmla="*/ 1449 h 2204"/>
              <a:gd name="T38" fmla="*/ 1802 w 2204"/>
              <a:gd name="T39" fmla="*/ 1194 h 2204"/>
              <a:gd name="T40" fmla="*/ 1095 w 2204"/>
              <a:gd name="T41" fmla="*/ 2204 h 2204"/>
              <a:gd name="T42" fmla="*/ 2204 w 2204"/>
              <a:gd name="T43" fmla="*/ 1092 h 2204"/>
              <a:gd name="T44" fmla="*/ 1095 w 2204"/>
              <a:gd name="T45" fmla="*/ 0 h 2204"/>
              <a:gd name="T46" fmla="*/ 0 w 2204"/>
              <a:gd name="T47" fmla="*/ 1092 h 2204"/>
              <a:gd name="T48" fmla="*/ 1095 w 2204"/>
              <a:gd name="T49" fmla="*/ 2204 h 2204"/>
              <a:gd name="T50" fmla="*/ 1095 w 2204"/>
              <a:gd name="T51" fmla="*/ 132 h 2204"/>
              <a:gd name="T52" fmla="*/ 2072 w 2204"/>
              <a:gd name="T53" fmla="*/ 1092 h 2204"/>
              <a:gd name="T54" fmla="*/ 1095 w 2204"/>
              <a:gd name="T55" fmla="*/ 2068 h 2204"/>
              <a:gd name="T56" fmla="*/ 137 w 2204"/>
              <a:gd name="T57" fmla="*/ 1092 h 2204"/>
              <a:gd name="T58" fmla="*/ 1095 w 2204"/>
              <a:gd name="T5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04" h="2204">
                <a:moveTo>
                  <a:pt x="1131" y="1075"/>
                </a:moveTo>
                <a:cubicBezTo>
                  <a:pt x="1131" y="1075"/>
                  <a:pt x="1131" y="1075"/>
                  <a:pt x="849" y="764"/>
                </a:cubicBezTo>
                <a:cubicBezTo>
                  <a:pt x="849" y="1470"/>
                  <a:pt x="849" y="1470"/>
                  <a:pt x="849" y="1470"/>
                </a:cubicBezTo>
                <a:cubicBezTo>
                  <a:pt x="849" y="1470"/>
                  <a:pt x="849" y="1470"/>
                  <a:pt x="645" y="1470"/>
                </a:cubicBezTo>
                <a:cubicBezTo>
                  <a:pt x="645" y="1470"/>
                  <a:pt x="645" y="1470"/>
                  <a:pt x="645" y="764"/>
                </a:cubicBezTo>
                <a:cubicBezTo>
                  <a:pt x="645" y="764"/>
                  <a:pt x="645" y="764"/>
                  <a:pt x="344" y="1075"/>
                </a:cubicBezTo>
                <a:cubicBezTo>
                  <a:pt x="344" y="1075"/>
                  <a:pt x="344" y="1075"/>
                  <a:pt x="344" y="819"/>
                </a:cubicBezTo>
                <a:cubicBezTo>
                  <a:pt x="344" y="819"/>
                  <a:pt x="344" y="819"/>
                  <a:pt x="738" y="397"/>
                </a:cubicBezTo>
                <a:cubicBezTo>
                  <a:pt x="738" y="397"/>
                  <a:pt x="738" y="397"/>
                  <a:pt x="1131" y="819"/>
                </a:cubicBezTo>
                <a:cubicBezTo>
                  <a:pt x="1131" y="819"/>
                  <a:pt x="1131" y="819"/>
                  <a:pt x="1131" y="1075"/>
                </a:cubicBezTo>
                <a:close/>
                <a:moveTo>
                  <a:pt x="1802" y="1194"/>
                </a:moveTo>
                <a:cubicBezTo>
                  <a:pt x="1802" y="1194"/>
                  <a:pt x="1802" y="1194"/>
                  <a:pt x="1519" y="1505"/>
                </a:cubicBezTo>
                <a:cubicBezTo>
                  <a:pt x="1519" y="799"/>
                  <a:pt x="1519" y="799"/>
                  <a:pt x="1519" y="799"/>
                </a:cubicBezTo>
                <a:cubicBezTo>
                  <a:pt x="1519" y="799"/>
                  <a:pt x="1519" y="799"/>
                  <a:pt x="1316" y="799"/>
                </a:cubicBezTo>
                <a:cubicBezTo>
                  <a:pt x="1316" y="799"/>
                  <a:pt x="1316" y="799"/>
                  <a:pt x="1316" y="1505"/>
                </a:cubicBezTo>
                <a:cubicBezTo>
                  <a:pt x="1316" y="1505"/>
                  <a:pt x="1316" y="1505"/>
                  <a:pt x="1015" y="1194"/>
                </a:cubicBezTo>
                <a:cubicBezTo>
                  <a:pt x="1015" y="1194"/>
                  <a:pt x="1015" y="1194"/>
                  <a:pt x="1015" y="1449"/>
                </a:cubicBezTo>
                <a:cubicBezTo>
                  <a:pt x="1015" y="1449"/>
                  <a:pt x="1015" y="1449"/>
                  <a:pt x="1408" y="1872"/>
                </a:cubicBezTo>
                <a:cubicBezTo>
                  <a:pt x="1408" y="1872"/>
                  <a:pt x="1408" y="1872"/>
                  <a:pt x="1802" y="1449"/>
                </a:cubicBezTo>
                <a:cubicBezTo>
                  <a:pt x="1802" y="1449"/>
                  <a:pt x="1802" y="1449"/>
                  <a:pt x="1802" y="1194"/>
                </a:cubicBezTo>
                <a:close/>
                <a:moveTo>
                  <a:pt x="1095" y="2204"/>
                </a:moveTo>
                <a:cubicBezTo>
                  <a:pt x="1718" y="2204"/>
                  <a:pt x="2204" y="1714"/>
                  <a:pt x="2204" y="1092"/>
                </a:cubicBezTo>
                <a:cubicBezTo>
                  <a:pt x="2204" y="485"/>
                  <a:pt x="1718" y="0"/>
                  <a:pt x="1095" y="0"/>
                </a:cubicBezTo>
                <a:cubicBezTo>
                  <a:pt x="492" y="0"/>
                  <a:pt x="0" y="485"/>
                  <a:pt x="0" y="1092"/>
                </a:cubicBezTo>
                <a:cubicBezTo>
                  <a:pt x="0" y="1714"/>
                  <a:pt x="492" y="2204"/>
                  <a:pt x="1095" y="2204"/>
                </a:cubicBezTo>
                <a:close/>
                <a:moveTo>
                  <a:pt x="1095" y="132"/>
                </a:moveTo>
                <a:cubicBezTo>
                  <a:pt x="1627" y="132"/>
                  <a:pt x="2072" y="561"/>
                  <a:pt x="2072" y="1092"/>
                </a:cubicBezTo>
                <a:cubicBezTo>
                  <a:pt x="2072" y="1628"/>
                  <a:pt x="1627" y="2068"/>
                  <a:pt x="1095" y="2068"/>
                </a:cubicBezTo>
                <a:cubicBezTo>
                  <a:pt x="563" y="2068"/>
                  <a:pt x="137" y="1628"/>
                  <a:pt x="137" y="1092"/>
                </a:cubicBezTo>
                <a:cubicBezTo>
                  <a:pt x="137" y="561"/>
                  <a:pt x="563" y="132"/>
                  <a:pt x="1095" y="132"/>
                </a:cubicBezTo>
                <a:close/>
              </a:path>
            </a:pathLst>
          </a:custGeom>
          <a:solidFill>
            <a:srgbClr val="00B0F0"/>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marL="342768" indent="-342768" algn="ctr" defTabSz="932114">
              <a:lnSpc>
                <a:spcPct val="90000"/>
              </a:lnSpc>
              <a:buFont typeface="Wingdings 3" panose="05040102010807070707" pitchFamily="18" charset="2"/>
              <a:buChar char="Æ"/>
            </a:pPr>
            <a:endParaRPr lang="en-US" sz="2000" b="1">
              <a:solidFill>
                <a:srgbClr val="FFFFFF"/>
              </a:solidFill>
              <a:latin typeface="Segoe UI Light"/>
              <a:ea typeface="Segoe UI" pitchFamily="34" charset="0"/>
              <a:cs typeface="Segoe UI" pitchFamily="34" charset="0"/>
            </a:endParaRPr>
          </a:p>
        </p:txBody>
      </p:sp>
    </p:spTree>
    <p:extLst>
      <p:ext uri="{BB962C8B-B14F-4D97-AF65-F5344CB8AC3E}">
        <p14:creationId xmlns:p14="http://schemas.microsoft.com/office/powerpoint/2010/main" val="4090468147"/>
      </p:ext>
    </p:extLst>
  </p:cSld>
  <p:clrMapOvr>
    <a:masterClrMapping/>
  </p:clrMapOvr>
  <p:transition spd="slow">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6108822" y="845531"/>
            <a:ext cx="5935849" cy="4548171"/>
            <a:chOff x="183263" y="1759921"/>
            <a:chExt cx="3971093" cy="387415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3409" y="1759921"/>
              <a:ext cx="1555210" cy="1555210"/>
            </a:xfrm>
            <a:prstGeom prst="rect">
              <a:avLst/>
            </a:prstGeom>
          </p:spPr>
        </p:pic>
        <p:sp>
          <p:nvSpPr>
            <p:cNvPr id="7" name="Left Brace 6"/>
            <p:cNvSpPr/>
            <p:nvPr/>
          </p:nvSpPr>
          <p:spPr>
            <a:xfrm rot="5400000">
              <a:off x="1930769" y="1591101"/>
              <a:ext cx="489070" cy="3701191"/>
            </a:xfrm>
            <a:prstGeom prst="leftBrace">
              <a:avLst>
                <a:gd name="adj1" fmla="val 144367"/>
                <a:gd name="adj2" fmla="val 50512"/>
              </a:avLst>
            </a:prstGeom>
            <a:ln w="38100">
              <a:solidFill>
                <a:srgbClr val="003C6C"/>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a:endParaRPr lang="en-US">
                <a:solidFill>
                  <a:srgbClr val="000000"/>
                </a:solidFill>
              </a:endParaRPr>
            </a:p>
          </p:txBody>
        </p:sp>
        <p:sp>
          <p:nvSpPr>
            <p:cNvPr id="9" name="Rectangle 69"/>
            <p:cNvSpPr>
              <a:spLocks noChangeArrowheads="1"/>
            </p:cNvSpPr>
            <p:nvPr/>
          </p:nvSpPr>
          <p:spPr bwMode="auto">
            <a:xfrm>
              <a:off x="183263" y="3680140"/>
              <a:ext cx="3971093" cy="1953931"/>
            </a:xfrm>
            <a:prstGeom prst="rect">
              <a:avLst/>
            </a:prstGeom>
            <a:solidFill>
              <a:schemeClr val="accent1">
                <a:lumMod val="50000"/>
              </a:schemeClr>
            </a:solidFill>
            <a:ln>
              <a:noFill/>
            </a:ln>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grpSp>
          <p:nvGrpSpPr>
            <p:cNvPr id="11" name="Group 10"/>
            <p:cNvGrpSpPr/>
            <p:nvPr/>
          </p:nvGrpSpPr>
          <p:grpSpPr>
            <a:xfrm>
              <a:off x="457580" y="3845008"/>
              <a:ext cx="832101" cy="1624194"/>
              <a:chOff x="810323" y="3007385"/>
              <a:chExt cx="1226042" cy="2393136"/>
            </a:xfrm>
          </p:grpSpPr>
          <p:sp>
            <p:nvSpPr>
              <p:cNvPr id="12" name="Rectangle 70"/>
              <p:cNvSpPr>
                <a:spLocks noChangeArrowheads="1"/>
              </p:cNvSpPr>
              <p:nvPr/>
            </p:nvSpPr>
            <p:spPr bwMode="auto">
              <a:xfrm>
                <a:off x="810323" y="3007385"/>
                <a:ext cx="1226042" cy="23931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 name="Rectangle 71"/>
              <p:cNvSpPr>
                <a:spLocks noChangeArrowheads="1"/>
              </p:cNvSpPr>
              <p:nvPr/>
            </p:nvSpPr>
            <p:spPr bwMode="auto">
              <a:xfrm>
                <a:off x="882629" y="3085975"/>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 name="Rectangle 72"/>
              <p:cNvSpPr>
                <a:spLocks noChangeArrowheads="1"/>
              </p:cNvSpPr>
              <p:nvPr/>
            </p:nvSpPr>
            <p:spPr bwMode="auto">
              <a:xfrm>
                <a:off x="92349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 name="Rectangle 73"/>
              <p:cNvSpPr>
                <a:spLocks noChangeArrowheads="1"/>
              </p:cNvSpPr>
              <p:nvPr/>
            </p:nvSpPr>
            <p:spPr bwMode="auto">
              <a:xfrm>
                <a:off x="986370" y="3136274"/>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6" name="Rectangle 74"/>
              <p:cNvSpPr>
                <a:spLocks noChangeArrowheads="1"/>
              </p:cNvSpPr>
              <p:nvPr/>
            </p:nvSpPr>
            <p:spPr bwMode="auto">
              <a:xfrm>
                <a:off x="1046102"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7" name="Rectangle 75"/>
              <p:cNvSpPr>
                <a:spLocks noChangeArrowheads="1"/>
              </p:cNvSpPr>
              <p:nvPr/>
            </p:nvSpPr>
            <p:spPr bwMode="auto">
              <a:xfrm>
                <a:off x="110897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8" name="Rectangle 76"/>
              <p:cNvSpPr>
                <a:spLocks noChangeArrowheads="1"/>
              </p:cNvSpPr>
              <p:nvPr/>
            </p:nvSpPr>
            <p:spPr bwMode="auto">
              <a:xfrm>
                <a:off x="1168705"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9" name="Rectangle 77"/>
              <p:cNvSpPr>
                <a:spLocks noChangeArrowheads="1"/>
              </p:cNvSpPr>
              <p:nvPr/>
            </p:nvSpPr>
            <p:spPr bwMode="auto">
              <a:xfrm>
                <a:off x="1231579"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0" name="Oval 78"/>
              <p:cNvSpPr>
                <a:spLocks noChangeArrowheads="1"/>
              </p:cNvSpPr>
              <p:nvPr/>
            </p:nvSpPr>
            <p:spPr bwMode="auto">
              <a:xfrm>
                <a:off x="1803732" y="3192860"/>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1" name="Rectangle 79"/>
              <p:cNvSpPr>
                <a:spLocks noChangeArrowheads="1"/>
              </p:cNvSpPr>
              <p:nvPr/>
            </p:nvSpPr>
            <p:spPr bwMode="auto">
              <a:xfrm>
                <a:off x="882629" y="3444355"/>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2" name="Rectangle 80"/>
              <p:cNvSpPr>
                <a:spLocks noChangeArrowheads="1"/>
              </p:cNvSpPr>
              <p:nvPr/>
            </p:nvSpPr>
            <p:spPr bwMode="auto">
              <a:xfrm>
                <a:off x="92349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3" name="Rectangle 81"/>
              <p:cNvSpPr>
                <a:spLocks noChangeArrowheads="1"/>
              </p:cNvSpPr>
              <p:nvPr/>
            </p:nvSpPr>
            <p:spPr bwMode="auto">
              <a:xfrm>
                <a:off x="986370" y="3491512"/>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4" name="Rectangle 82"/>
              <p:cNvSpPr>
                <a:spLocks noChangeArrowheads="1"/>
              </p:cNvSpPr>
              <p:nvPr/>
            </p:nvSpPr>
            <p:spPr bwMode="auto">
              <a:xfrm>
                <a:off x="1046102"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5" name="Rectangle 83"/>
              <p:cNvSpPr>
                <a:spLocks noChangeArrowheads="1"/>
              </p:cNvSpPr>
              <p:nvPr/>
            </p:nvSpPr>
            <p:spPr bwMode="auto">
              <a:xfrm>
                <a:off x="110897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6" name="Rectangle 84"/>
              <p:cNvSpPr>
                <a:spLocks noChangeArrowheads="1"/>
              </p:cNvSpPr>
              <p:nvPr/>
            </p:nvSpPr>
            <p:spPr bwMode="auto">
              <a:xfrm>
                <a:off x="1168705"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7" name="Rectangle 85"/>
              <p:cNvSpPr>
                <a:spLocks noChangeArrowheads="1"/>
              </p:cNvSpPr>
              <p:nvPr/>
            </p:nvSpPr>
            <p:spPr bwMode="auto">
              <a:xfrm>
                <a:off x="1231579"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8" name="Oval 86"/>
              <p:cNvSpPr>
                <a:spLocks noChangeArrowheads="1"/>
              </p:cNvSpPr>
              <p:nvPr/>
            </p:nvSpPr>
            <p:spPr bwMode="auto">
              <a:xfrm>
                <a:off x="1803732" y="3548098"/>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29" name="Rectangle 87"/>
              <p:cNvSpPr>
                <a:spLocks noChangeArrowheads="1"/>
              </p:cNvSpPr>
              <p:nvPr/>
            </p:nvSpPr>
            <p:spPr bwMode="auto">
              <a:xfrm>
                <a:off x="882629" y="3799593"/>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0" name="Rectangle 88"/>
              <p:cNvSpPr>
                <a:spLocks noChangeArrowheads="1"/>
              </p:cNvSpPr>
              <p:nvPr/>
            </p:nvSpPr>
            <p:spPr bwMode="auto">
              <a:xfrm>
                <a:off x="92349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1" name="Rectangle 89"/>
              <p:cNvSpPr>
                <a:spLocks noChangeArrowheads="1"/>
              </p:cNvSpPr>
              <p:nvPr/>
            </p:nvSpPr>
            <p:spPr bwMode="auto">
              <a:xfrm>
                <a:off x="986370" y="384674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2" name="Rectangle 90"/>
              <p:cNvSpPr>
                <a:spLocks noChangeArrowheads="1"/>
              </p:cNvSpPr>
              <p:nvPr/>
            </p:nvSpPr>
            <p:spPr bwMode="auto">
              <a:xfrm>
                <a:off x="1046102"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 name="Rectangle 91"/>
              <p:cNvSpPr>
                <a:spLocks noChangeArrowheads="1"/>
              </p:cNvSpPr>
              <p:nvPr/>
            </p:nvSpPr>
            <p:spPr bwMode="auto">
              <a:xfrm>
                <a:off x="110897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 name="Rectangle 92"/>
              <p:cNvSpPr>
                <a:spLocks noChangeArrowheads="1"/>
              </p:cNvSpPr>
              <p:nvPr/>
            </p:nvSpPr>
            <p:spPr bwMode="auto">
              <a:xfrm>
                <a:off x="1168705"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 name="Rectangle 93"/>
              <p:cNvSpPr>
                <a:spLocks noChangeArrowheads="1"/>
              </p:cNvSpPr>
              <p:nvPr/>
            </p:nvSpPr>
            <p:spPr bwMode="auto">
              <a:xfrm>
                <a:off x="1231579"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 name="Oval 94"/>
              <p:cNvSpPr>
                <a:spLocks noChangeArrowheads="1"/>
              </p:cNvSpPr>
              <p:nvPr/>
            </p:nvSpPr>
            <p:spPr bwMode="auto">
              <a:xfrm>
                <a:off x="1803732" y="3906479"/>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 name="Rectangle 95"/>
              <p:cNvSpPr>
                <a:spLocks noChangeArrowheads="1"/>
              </p:cNvSpPr>
              <p:nvPr/>
            </p:nvSpPr>
            <p:spPr bwMode="auto">
              <a:xfrm>
                <a:off x="882629" y="4154829"/>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 name="Rectangle 96"/>
              <p:cNvSpPr>
                <a:spLocks noChangeArrowheads="1"/>
              </p:cNvSpPr>
              <p:nvPr/>
            </p:nvSpPr>
            <p:spPr bwMode="auto">
              <a:xfrm>
                <a:off x="92349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 name="Rectangle 97"/>
              <p:cNvSpPr>
                <a:spLocks noChangeArrowheads="1"/>
              </p:cNvSpPr>
              <p:nvPr/>
            </p:nvSpPr>
            <p:spPr bwMode="auto">
              <a:xfrm>
                <a:off x="986370" y="420512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 name="Rectangle 98"/>
              <p:cNvSpPr>
                <a:spLocks noChangeArrowheads="1"/>
              </p:cNvSpPr>
              <p:nvPr/>
            </p:nvSpPr>
            <p:spPr bwMode="auto">
              <a:xfrm>
                <a:off x="1046102"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 name="Rectangle 99"/>
              <p:cNvSpPr>
                <a:spLocks noChangeArrowheads="1"/>
              </p:cNvSpPr>
              <p:nvPr/>
            </p:nvSpPr>
            <p:spPr bwMode="auto">
              <a:xfrm>
                <a:off x="110897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 name="Rectangle 100"/>
              <p:cNvSpPr>
                <a:spLocks noChangeArrowheads="1"/>
              </p:cNvSpPr>
              <p:nvPr/>
            </p:nvSpPr>
            <p:spPr bwMode="auto">
              <a:xfrm>
                <a:off x="1168705"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 name="Rectangle 101"/>
              <p:cNvSpPr>
                <a:spLocks noChangeArrowheads="1"/>
              </p:cNvSpPr>
              <p:nvPr/>
            </p:nvSpPr>
            <p:spPr bwMode="auto">
              <a:xfrm>
                <a:off x="1231579"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 name="Oval 102"/>
              <p:cNvSpPr>
                <a:spLocks noChangeArrowheads="1"/>
              </p:cNvSpPr>
              <p:nvPr/>
            </p:nvSpPr>
            <p:spPr bwMode="auto">
              <a:xfrm>
                <a:off x="1803732" y="4261714"/>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 name="Rectangle 103"/>
              <p:cNvSpPr>
                <a:spLocks noChangeArrowheads="1"/>
              </p:cNvSpPr>
              <p:nvPr/>
            </p:nvSpPr>
            <p:spPr bwMode="auto">
              <a:xfrm>
                <a:off x="882629" y="4513210"/>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 name="Rectangle 104"/>
              <p:cNvSpPr>
                <a:spLocks noChangeArrowheads="1"/>
              </p:cNvSpPr>
              <p:nvPr/>
            </p:nvSpPr>
            <p:spPr bwMode="auto">
              <a:xfrm>
                <a:off x="92349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7" name="Rectangle 105"/>
              <p:cNvSpPr>
                <a:spLocks noChangeArrowheads="1"/>
              </p:cNvSpPr>
              <p:nvPr/>
            </p:nvSpPr>
            <p:spPr bwMode="auto">
              <a:xfrm>
                <a:off x="986370" y="4560366"/>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8" name="Rectangle 106"/>
              <p:cNvSpPr>
                <a:spLocks noChangeArrowheads="1"/>
              </p:cNvSpPr>
              <p:nvPr/>
            </p:nvSpPr>
            <p:spPr bwMode="auto">
              <a:xfrm>
                <a:off x="1046102"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9" name="Rectangle 107"/>
              <p:cNvSpPr>
                <a:spLocks noChangeArrowheads="1"/>
              </p:cNvSpPr>
              <p:nvPr/>
            </p:nvSpPr>
            <p:spPr bwMode="auto">
              <a:xfrm>
                <a:off x="110897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0" name="Rectangle 108"/>
              <p:cNvSpPr>
                <a:spLocks noChangeArrowheads="1"/>
              </p:cNvSpPr>
              <p:nvPr/>
            </p:nvSpPr>
            <p:spPr bwMode="auto">
              <a:xfrm>
                <a:off x="1168705"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1" name="Rectangle 109"/>
              <p:cNvSpPr>
                <a:spLocks noChangeArrowheads="1"/>
              </p:cNvSpPr>
              <p:nvPr/>
            </p:nvSpPr>
            <p:spPr bwMode="auto">
              <a:xfrm>
                <a:off x="1231579"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2" name="Oval 110"/>
              <p:cNvSpPr>
                <a:spLocks noChangeArrowheads="1"/>
              </p:cNvSpPr>
              <p:nvPr/>
            </p:nvSpPr>
            <p:spPr bwMode="auto">
              <a:xfrm>
                <a:off x="1803732" y="4616952"/>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3" name="Rectangle 111"/>
              <p:cNvSpPr>
                <a:spLocks noChangeArrowheads="1"/>
              </p:cNvSpPr>
              <p:nvPr/>
            </p:nvSpPr>
            <p:spPr bwMode="auto">
              <a:xfrm>
                <a:off x="882629" y="4868447"/>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4" name="Rectangle 112"/>
              <p:cNvSpPr>
                <a:spLocks noChangeArrowheads="1"/>
              </p:cNvSpPr>
              <p:nvPr/>
            </p:nvSpPr>
            <p:spPr bwMode="auto">
              <a:xfrm>
                <a:off x="92349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5" name="Rectangle 113"/>
              <p:cNvSpPr>
                <a:spLocks noChangeArrowheads="1"/>
              </p:cNvSpPr>
              <p:nvPr/>
            </p:nvSpPr>
            <p:spPr bwMode="auto">
              <a:xfrm>
                <a:off x="986370" y="4918746"/>
                <a:ext cx="28294"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6" name="Rectangle 114"/>
              <p:cNvSpPr>
                <a:spLocks noChangeArrowheads="1"/>
              </p:cNvSpPr>
              <p:nvPr/>
            </p:nvSpPr>
            <p:spPr bwMode="auto">
              <a:xfrm>
                <a:off x="1046102"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7" name="Rectangle 115"/>
              <p:cNvSpPr>
                <a:spLocks noChangeArrowheads="1"/>
              </p:cNvSpPr>
              <p:nvPr/>
            </p:nvSpPr>
            <p:spPr bwMode="auto">
              <a:xfrm>
                <a:off x="110897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8" name="Rectangle 116"/>
              <p:cNvSpPr>
                <a:spLocks noChangeArrowheads="1"/>
              </p:cNvSpPr>
              <p:nvPr/>
            </p:nvSpPr>
            <p:spPr bwMode="auto">
              <a:xfrm>
                <a:off x="1168705"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59" name="Rectangle 117"/>
              <p:cNvSpPr>
                <a:spLocks noChangeArrowheads="1"/>
              </p:cNvSpPr>
              <p:nvPr/>
            </p:nvSpPr>
            <p:spPr bwMode="auto">
              <a:xfrm>
                <a:off x="1231579"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60" name="Oval 118"/>
              <p:cNvSpPr>
                <a:spLocks noChangeArrowheads="1"/>
              </p:cNvSpPr>
              <p:nvPr/>
            </p:nvSpPr>
            <p:spPr bwMode="auto">
              <a:xfrm>
                <a:off x="1803732" y="4975333"/>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grpSp>
        <p:grpSp>
          <p:nvGrpSpPr>
            <p:cNvPr id="61" name="Group 60"/>
            <p:cNvGrpSpPr/>
            <p:nvPr/>
          </p:nvGrpSpPr>
          <p:grpSpPr>
            <a:xfrm>
              <a:off x="1669557" y="3865006"/>
              <a:ext cx="832101" cy="1624194"/>
              <a:chOff x="810323" y="3007385"/>
              <a:chExt cx="1226042" cy="2393136"/>
            </a:xfrm>
          </p:grpSpPr>
          <p:sp>
            <p:nvSpPr>
              <p:cNvPr id="62" name="Rectangle 70"/>
              <p:cNvSpPr>
                <a:spLocks noChangeArrowheads="1"/>
              </p:cNvSpPr>
              <p:nvPr/>
            </p:nvSpPr>
            <p:spPr bwMode="auto">
              <a:xfrm>
                <a:off x="810323" y="3007385"/>
                <a:ext cx="1226042" cy="23931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63" name="Rectangle 71"/>
              <p:cNvSpPr>
                <a:spLocks noChangeArrowheads="1"/>
              </p:cNvSpPr>
              <p:nvPr/>
            </p:nvSpPr>
            <p:spPr bwMode="auto">
              <a:xfrm>
                <a:off x="882629" y="3085975"/>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64" name="Rectangle 72"/>
              <p:cNvSpPr>
                <a:spLocks noChangeArrowheads="1"/>
              </p:cNvSpPr>
              <p:nvPr/>
            </p:nvSpPr>
            <p:spPr bwMode="auto">
              <a:xfrm>
                <a:off x="92349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65" name="Rectangle 73"/>
              <p:cNvSpPr>
                <a:spLocks noChangeArrowheads="1"/>
              </p:cNvSpPr>
              <p:nvPr/>
            </p:nvSpPr>
            <p:spPr bwMode="auto">
              <a:xfrm>
                <a:off x="986370" y="3136274"/>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66" name="Rectangle 74"/>
              <p:cNvSpPr>
                <a:spLocks noChangeArrowheads="1"/>
              </p:cNvSpPr>
              <p:nvPr/>
            </p:nvSpPr>
            <p:spPr bwMode="auto">
              <a:xfrm>
                <a:off x="1046102"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67" name="Rectangle 75"/>
              <p:cNvSpPr>
                <a:spLocks noChangeArrowheads="1"/>
              </p:cNvSpPr>
              <p:nvPr/>
            </p:nvSpPr>
            <p:spPr bwMode="auto">
              <a:xfrm>
                <a:off x="110897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68" name="Rectangle 76"/>
              <p:cNvSpPr>
                <a:spLocks noChangeArrowheads="1"/>
              </p:cNvSpPr>
              <p:nvPr/>
            </p:nvSpPr>
            <p:spPr bwMode="auto">
              <a:xfrm>
                <a:off x="1168705"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69" name="Rectangle 77"/>
              <p:cNvSpPr>
                <a:spLocks noChangeArrowheads="1"/>
              </p:cNvSpPr>
              <p:nvPr/>
            </p:nvSpPr>
            <p:spPr bwMode="auto">
              <a:xfrm>
                <a:off x="1231579"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0" name="Oval 78"/>
              <p:cNvSpPr>
                <a:spLocks noChangeArrowheads="1"/>
              </p:cNvSpPr>
              <p:nvPr/>
            </p:nvSpPr>
            <p:spPr bwMode="auto">
              <a:xfrm>
                <a:off x="1803732" y="3192860"/>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1" name="Rectangle 79"/>
              <p:cNvSpPr>
                <a:spLocks noChangeArrowheads="1"/>
              </p:cNvSpPr>
              <p:nvPr/>
            </p:nvSpPr>
            <p:spPr bwMode="auto">
              <a:xfrm>
                <a:off x="882629" y="3444355"/>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2" name="Rectangle 80"/>
              <p:cNvSpPr>
                <a:spLocks noChangeArrowheads="1"/>
              </p:cNvSpPr>
              <p:nvPr/>
            </p:nvSpPr>
            <p:spPr bwMode="auto">
              <a:xfrm>
                <a:off x="92349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3" name="Rectangle 81"/>
              <p:cNvSpPr>
                <a:spLocks noChangeArrowheads="1"/>
              </p:cNvSpPr>
              <p:nvPr/>
            </p:nvSpPr>
            <p:spPr bwMode="auto">
              <a:xfrm>
                <a:off x="986370" y="3491512"/>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4" name="Rectangle 82"/>
              <p:cNvSpPr>
                <a:spLocks noChangeArrowheads="1"/>
              </p:cNvSpPr>
              <p:nvPr/>
            </p:nvSpPr>
            <p:spPr bwMode="auto">
              <a:xfrm>
                <a:off x="1046102"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5" name="Rectangle 83"/>
              <p:cNvSpPr>
                <a:spLocks noChangeArrowheads="1"/>
              </p:cNvSpPr>
              <p:nvPr/>
            </p:nvSpPr>
            <p:spPr bwMode="auto">
              <a:xfrm>
                <a:off x="110897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6" name="Rectangle 84"/>
              <p:cNvSpPr>
                <a:spLocks noChangeArrowheads="1"/>
              </p:cNvSpPr>
              <p:nvPr/>
            </p:nvSpPr>
            <p:spPr bwMode="auto">
              <a:xfrm>
                <a:off x="1168705"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7" name="Rectangle 85"/>
              <p:cNvSpPr>
                <a:spLocks noChangeArrowheads="1"/>
              </p:cNvSpPr>
              <p:nvPr/>
            </p:nvSpPr>
            <p:spPr bwMode="auto">
              <a:xfrm>
                <a:off x="1231579"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8" name="Oval 86"/>
              <p:cNvSpPr>
                <a:spLocks noChangeArrowheads="1"/>
              </p:cNvSpPr>
              <p:nvPr/>
            </p:nvSpPr>
            <p:spPr bwMode="auto">
              <a:xfrm>
                <a:off x="1803732" y="3548098"/>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79" name="Rectangle 87"/>
              <p:cNvSpPr>
                <a:spLocks noChangeArrowheads="1"/>
              </p:cNvSpPr>
              <p:nvPr/>
            </p:nvSpPr>
            <p:spPr bwMode="auto">
              <a:xfrm>
                <a:off x="882629" y="3799593"/>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0" name="Rectangle 88"/>
              <p:cNvSpPr>
                <a:spLocks noChangeArrowheads="1"/>
              </p:cNvSpPr>
              <p:nvPr/>
            </p:nvSpPr>
            <p:spPr bwMode="auto">
              <a:xfrm>
                <a:off x="92349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1" name="Rectangle 89"/>
              <p:cNvSpPr>
                <a:spLocks noChangeArrowheads="1"/>
              </p:cNvSpPr>
              <p:nvPr/>
            </p:nvSpPr>
            <p:spPr bwMode="auto">
              <a:xfrm>
                <a:off x="986370" y="384674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2" name="Rectangle 90"/>
              <p:cNvSpPr>
                <a:spLocks noChangeArrowheads="1"/>
              </p:cNvSpPr>
              <p:nvPr/>
            </p:nvSpPr>
            <p:spPr bwMode="auto">
              <a:xfrm>
                <a:off x="1046102"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3" name="Rectangle 91"/>
              <p:cNvSpPr>
                <a:spLocks noChangeArrowheads="1"/>
              </p:cNvSpPr>
              <p:nvPr/>
            </p:nvSpPr>
            <p:spPr bwMode="auto">
              <a:xfrm>
                <a:off x="110897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4" name="Rectangle 92"/>
              <p:cNvSpPr>
                <a:spLocks noChangeArrowheads="1"/>
              </p:cNvSpPr>
              <p:nvPr/>
            </p:nvSpPr>
            <p:spPr bwMode="auto">
              <a:xfrm>
                <a:off x="1168705"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5" name="Rectangle 93"/>
              <p:cNvSpPr>
                <a:spLocks noChangeArrowheads="1"/>
              </p:cNvSpPr>
              <p:nvPr/>
            </p:nvSpPr>
            <p:spPr bwMode="auto">
              <a:xfrm>
                <a:off x="1231579"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6" name="Oval 94"/>
              <p:cNvSpPr>
                <a:spLocks noChangeArrowheads="1"/>
              </p:cNvSpPr>
              <p:nvPr/>
            </p:nvSpPr>
            <p:spPr bwMode="auto">
              <a:xfrm>
                <a:off x="1803732" y="3906479"/>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7" name="Rectangle 95"/>
              <p:cNvSpPr>
                <a:spLocks noChangeArrowheads="1"/>
              </p:cNvSpPr>
              <p:nvPr/>
            </p:nvSpPr>
            <p:spPr bwMode="auto">
              <a:xfrm>
                <a:off x="882629" y="4154829"/>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8" name="Rectangle 96"/>
              <p:cNvSpPr>
                <a:spLocks noChangeArrowheads="1"/>
              </p:cNvSpPr>
              <p:nvPr/>
            </p:nvSpPr>
            <p:spPr bwMode="auto">
              <a:xfrm>
                <a:off x="92349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89" name="Rectangle 97"/>
              <p:cNvSpPr>
                <a:spLocks noChangeArrowheads="1"/>
              </p:cNvSpPr>
              <p:nvPr/>
            </p:nvSpPr>
            <p:spPr bwMode="auto">
              <a:xfrm>
                <a:off x="986370" y="420512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0" name="Rectangle 98"/>
              <p:cNvSpPr>
                <a:spLocks noChangeArrowheads="1"/>
              </p:cNvSpPr>
              <p:nvPr/>
            </p:nvSpPr>
            <p:spPr bwMode="auto">
              <a:xfrm>
                <a:off x="1046102"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1" name="Rectangle 99"/>
              <p:cNvSpPr>
                <a:spLocks noChangeArrowheads="1"/>
              </p:cNvSpPr>
              <p:nvPr/>
            </p:nvSpPr>
            <p:spPr bwMode="auto">
              <a:xfrm>
                <a:off x="110897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2" name="Rectangle 100"/>
              <p:cNvSpPr>
                <a:spLocks noChangeArrowheads="1"/>
              </p:cNvSpPr>
              <p:nvPr/>
            </p:nvSpPr>
            <p:spPr bwMode="auto">
              <a:xfrm>
                <a:off x="1168705"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3" name="Rectangle 101"/>
              <p:cNvSpPr>
                <a:spLocks noChangeArrowheads="1"/>
              </p:cNvSpPr>
              <p:nvPr/>
            </p:nvSpPr>
            <p:spPr bwMode="auto">
              <a:xfrm>
                <a:off x="1231579"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4" name="Oval 102"/>
              <p:cNvSpPr>
                <a:spLocks noChangeArrowheads="1"/>
              </p:cNvSpPr>
              <p:nvPr/>
            </p:nvSpPr>
            <p:spPr bwMode="auto">
              <a:xfrm>
                <a:off x="1803732" y="4261714"/>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5" name="Rectangle 103"/>
              <p:cNvSpPr>
                <a:spLocks noChangeArrowheads="1"/>
              </p:cNvSpPr>
              <p:nvPr/>
            </p:nvSpPr>
            <p:spPr bwMode="auto">
              <a:xfrm>
                <a:off x="882629" y="4513210"/>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6" name="Rectangle 104"/>
              <p:cNvSpPr>
                <a:spLocks noChangeArrowheads="1"/>
              </p:cNvSpPr>
              <p:nvPr/>
            </p:nvSpPr>
            <p:spPr bwMode="auto">
              <a:xfrm>
                <a:off x="92349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7" name="Rectangle 105"/>
              <p:cNvSpPr>
                <a:spLocks noChangeArrowheads="1"/>
              </p:cNvSpPr>
              <p:nvPr/>
            </p:nvSpPr>
            <p:spPr bwMode="auto">
              <a:xfrm>
                <a:off x="986370" y="4560366"/>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8" name="Rectangle 106"/>
              <p:cNvSpPr>
                <a:spLocks noChangeArrowheads="1"/>
              </p:cNvSpPr>
              <p:nvPr/>
            </p:nvSpPr>
            <p:spPr bwMode="auto">
              <a:xfrm>
                <a:off x="1046102"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99" name="Rectangle 107"/>
              <p:cNvSpPr>
                <a:spLocks noChangeArrowheads="1"/>
              </p:cNvSpPr>
              <p:nvPr/>
            </p:nvSpPr>
            <p:spPr bwMode="auto">
              <a:xfrm>
                <a:off x="110897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0" name="Rectangle 108"/>
              <p:cNvSpPr>
                <a:spLocks noChangeArrowheads="1"/>
              </p:cNvSpPr>
              <p:nvPr/>
            </p:nvSpPr>
            <p:spPr bwMode="auto">
              <a:xfrm>
                <a:off x="1168705"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1" name="Rectangle 109"/>
              <p:cNvSpPr>
                <a:spLocks noChangeArrowheads="1"/>
              </p:cNvSpPr>
              <p:nvPr/>
            </p:nvSpPr>
            <p:spPr bwMode="auto">
              <a:xfrm>
                <a:off x="1231579"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2" name="Oval 110"/>
              <p:cNvSpPr>
                <a:spLocks noChangeArrowheads="1"/>
              </p:cNvSpPr>
              <p:nvPr/>
            </p:nvSpPr>
            <p:spPr bwMode="auto">
              <a:xfrm>
                <a:off x="1803732" y="4616952"/>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3" name="Rectangle 111"/>
              <p:cNvSpPr>
                <a:spLocks noChangeArrowheads="1"/>
              </p:cNvSpPr>
              <p:nvPr/>
            </p:nvSpPr>
            <p:spPr bwMode="auto">
              <a:xfrm>
                <a:off x="882629" y="4868447"/>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4" name="Rectangle 112"/>
              <p:cNvSpPr>
                <a:spLocks noChangeArrowheads="1"/>
              </p:cNvSpPr>
              <p:nvPr/>
            </p:nvSpPr>
            <p:spPr bwMode="auto">
              <a:xfrm>
                <a:off x="92349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5" name="Rectangle 113"/>
              <p:cNvSpPr>
                <a:spLocks noChangeArrowheads="1"/>
              </p:cNvSpPr>
              <p:nvPr/>
            </p:nvSpPr>
            <p:spPr bwMode="auto">
              <a:xfrm>
                <a:off x="986370" y="4918746"/>
                <a:ext cx="28294"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6" name="Rectangle 114"/>
              <p:cNvSpPr>
                <a:spLocks noChangeArrowheads="1"/>
              </p:cNvSpPr>
              <p:nvPr/>
            </p:nvSpPr>
            <p:spPr bwMode="auto">
              <a:xfrm>
                <a:off x="1046102"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7" name="Rectangle 115"/>
              <p:cNvSpPr>
                <a:spLocks noChangeArrowheads="1"/>
              </p:cNvSpPr>
              <p:nvPr/>
            </p:nvSpPr>
            <p:spPr bwMode="auto">
              <a:xfrm>
                <a:off x="110897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8" name="Rectangle 116"/>
              <p:cNvSpPr>
                <a:spLocks noChangeArrowheads="1"/>
              </p:cNvSpPr>
              <p:nvPr/>
            </p:nvSpPr>
            <p:spPr bwMode="auto">
              <a:xfrm>
                <a:off x="1168705"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09" name="Rectangle 117"/>
              <p:cNvSpPr>
                <a:spLocks noChangeArrowheads="1"/>
              </p:cNvSpPr>
              <p:nvPr/>
            </p:nvSpPr>
            <p:spPr bwMode="auto">
              <a:xfrm>
                <a:off x="1231579"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10" name="Oval 118"/>
              <p:cNvSpPr>
                <a:spLocks noChangeArrowheads="1"/>
              </p:cNvSpPr>
              <p:nvPr/>
            </p:nvSpPr>
            <p:spPr bwMode="auto">
              <a:xfrm>
                <a:off x="1803732" y="4975333"/>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grpSp>
        <p:grpSp>
          <p:nvGrpSpPr>
            <p:cNvPr id="111" name="Group 110"/>
            <p:cNvGrpSpPr/>
            <p:nvPr/>
          </p:nvGrpSpPr>
          <p:grpSpPr>
            <a:xfrm>
              <a:off x="2929674" y="3863018"/>
              <a:ext cx="832101" cy="1624194"/>
              <a:chOff x="810323" y="3007385"/>
              <a:chExt cx="1226042" cy="2393136"/>
            </a:xfrm>
          </p:grpSpPr>
          <p:sp>
            <p:nvSpPr>
              <p:cNvPr id="112" name="Rectangle 70"/>
              <p:cNvSpPr>
                <a:spLocks noChangeArrowheads="1"/>
              </p:cNvSpPr>
              <p:nvPr/>
            </p:nvSpPr>
            <p:spPr bwMode="auto">
              <a:xfrm>
                <a:off x="810323" y="3007385"/>
                <a:ext cx="1226042" cy="23931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13" name="Rectangle 71"/>
              <p:cNvSpPr>
                <a:spLocks noChangeArrowheads="1"/>
              </p:cNvSpPr>
              <p:nvPr/>
            </p:nvSpPr>
            <p:spPr bwMode="auto">
              <a:xfrm>
                <a:off x="882629" y="3085975"/>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14" name="Rectangle 72"/>
              <p:cNvSpPr>
                <a:spLocks noChangeArrowheads="1"/>
              </p:cNvSpPr>
              <p:nvPr/>
            </p:nvSpPr>
            <p:spPr bwMode="auto">
              <a:xfrm>
                <a:off x="92349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15" name="Rectangle 73"/>
              <p:cNvSpPr>
                <a:spLocks noChangeArrowheads="1"/>
              </p:cNvSpPr>
              <p:nvPr/>
            </p:nvSpPr>
            <p:spPr bwMode="auto">
              <a:xfrm>
                <a:off x="986370" y="3136274"/>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16" name="Rectangle 74"/>
              <p:cNvSpPr>
                <a:spLocks noChangeArrowheads="1"/>
              </p:cNvSpPr>
              <p:nvPr/>
            </p:nvSpPr>
            <p:spPr bwMode="auto">
              <a:xfrm>
                <a:off x="1046102"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17" name="Rectangle 75"/>
              <p:cNvSpPr>
                <a:spLocks noChangeArrowheads="1"/>
              </p:cNvSpPr>
              <p:nvPr/>
            </p:nvSpPr>
            <p:spPr bwMode="auto">
              <a:xfrm>
                <a:off x="110897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18" name="Rectangle 76"/>
              <p:cNvSpPr>
                <a:spLocks noChangeArrowheads="1"/>
              </p:cNvSpPr>
              <p:nvPr/>
            </p:nvSpPr>
            <p:spPr bwMode="auto">
              <a:xfrm>
                <a:off x="1168705"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19" name="Rectangle 77"/>
              <p:cNvSpPr>
                <a:spLocks noChangeArrowheads="1"/>
              </p:cNvSpPr>
              <p:nvPr/>
            </p:nvSpPr>
            <p:spPr bwMode="auto">
              <a:xfrm>
                <a:off x="1231579"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0" name="Oval 78"/>
              <p:cNvSpPr>
                <a:spLocks noChangeArrowheads="1"/>
              </p:cNvSpPr>
              <p:nvPr/>
            </p:nvSpPr>
            <p:spPr bwMode="auto">
              <a:xfrm>
                <a:off x="1803732" y="3192860"/>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1" name="Rectangle 79"/>
              <p:cNvSpPr>
                <a:spLocks noChangeArrowheads="1"/>
              </p:cNvSpPr>
              <p:nvPr/>
            </p:nvSpPr>
            <p:spPr bwMode="auto">
              <a:xfrm>
                <a:off x="882629" y="3444355"/>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2" name="Rectangle 80"/>
              <p:cNvSpPr>
                <a:spLocks noChangeArrowheads="1"/>
              </p:cNvSpPr>
              <p:nvPr/>
            </p:nvSpPr>
            <p:spPr bwMode="auto">
              <a:xfrm>
                <a:off x="92349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3" name="Rectangle 81"/>
              <p:cNvSpPr>
                <a:spLocks noChangeArrowheads="1"/>
              </p:cNvSpPr>
              <p:nvPr/>
            </p:nvSpPr>
            <p:spPr bwMode="auto">
              <a:xfrm>
                <a:off x="986370" y="3491512"/>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4" name="Rectangle 82"/>
              <p:cNvSpPr>
                <a:spLocks noChangeArrowheads="1"/>
              </p:cNvSpPr>
              <p:nvPr/>
            </p:nvSpPr>
            <p:spPr bwMode="auto">
              <a:xfrm>
                <a:off x="1046102"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5" name="Rectangle 83"/>
              <p:cNvSpPr>
                <a:spLocks noChangeArrowheads="1"/>
              </p:cNvSpPr>
              <p:nvPr/>
            </p:nvSpPr>
            <p:spPr bwMode="auto">
              <a:xfrm>
                <a:off x="110897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6" name="Rectangle 84"/>
              <p:cNvSpPr>
                <a:spLocks noChangeArrowheads="1"/>
              </p:cNvSpPr>
              <p:nvPr/>
            </p:nvSpPr>
            <p:spPr bwMode="auto">
              <a:xfrm>
                <a:off x="1168705"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7" name="Rectangle 85"/>
              <p:cNvSpPr>
                <a:spLocks noChangeArrowheads="1"/>
              </p:cNvSpPr>
              <p:nvPr/>
            </p:nvSpPr>
            <p:spPr bwMode="auto">
              <a:xfrm>
                <a:off x="1231579"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8" name="Oval 86"/>
              <p:cNvSpPr>
                <a:spLocks noChangeArrowheads="1"/>
              </p:cNvSpPr>
              <p:nvPr/>
            </p:nvSpPr>
            <p:spPr bwMode="auto">
              <a:xfrm>
                <a:off x="1803732" y="3548098"/>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29" name="Rectangle 87"/>
              <p:cNvSpPr>
                <a:spLocks noChangeArrowheads="1"/>
              </p:cNvSpPr>
              <p:nvPr/>
            </p:nvSpPr>
            <p:spPr bwMode="auto">
              <a:xfrm>
                <a:off x="882629" y="3799593"/>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0" name="Rectangle 88"/>
              <p:cNvSpPr>
                <a:spLocks noChangeArrowheads="1"/>
              </p:cNvSpPr>
              <p:nvPr/>
            </p:nvSpPr>
            <p:spPr bwMode="auto">
              <a:xfrm>
                <a:off x="92349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1" name="Rectangle 89"/>
              <p:cNvSpPr>
                <a:spLocks noChangeArrowheads="1"/>
              </p:cNvSpPr>
              <p:nvPr/>
            </p:nvSpPr>
            <p:spPr bwMode="auto">
              <a:xfrm>
                <a:off x="986370" y="384674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2" name="Rectangle 90"/>
              <p:cNvSpPr>
                <a:spLocks noChangeArrowheads="1"/>
              </p:cNvSpPr>
              <p:nvPr/>
            </p:nvSpPr>
            <p:spPr bwMode="auto">
              <a:xfrm>
                <a:off x="1046102"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3" name="Rectangle 91"/>
              <p:cNvSpPr>
                <a:spLocks noChangeArrowheads="1"/>
              </p:cNvSpPr>
              <p:nvPr/>
            </p:nvSpPr>
            <p:spPr bwMode="auto">
              <a:xfrm>
                <a:off x="110897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4" name="Rectangle 92"/>
              <p:cNvSpPr>
                <a:spLocks noChangeArrowheads="1"/>
              </p:cNvSpPr>
              <p:nvPr/>
            </p:nvSpPr>
            <p:spPr bwMode="auto">
              <a:xfrm>
                <a:off x="1168705"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5" name="Rectangle 93"/>
              <p:cNvSpPr>
                <a:spLocks noChangeArrowheads="1"/>
              </p:cNvSpPr>
              <p:nvPr/>
            </p:nvSpPr>
            <p:spPr bwMode="auto">
              <a:xfrm>
                <a:off x="1231579"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6" name="Oval 94"/>
              <p:cNvSpPr>
                <a:spLocks noChangeArrowheads="1"/>
              </p:cNvSpPr>
              <p:nvPr/>
            </p:nvSpPr>
            <p:spPr bwMode="auto">
              <a:xfrm>
                <a:off x="1803732" y="3906479"/>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7" name="Rectangle 95"/>
              <p:cNvSpPr>
                <a:spLocks noChangeArrowheads="1"/>
              </p:cNvSpPr>
              <p:nvPr/>
            </p:nvSpPr>
            <p:spPr bwMode="auto">
              <a:xfrm>
                <a:off x="882629" y="4154829"/>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8" name="Rectangle 96"/>
              <p:cNvSpPr>
                <a:spLocks noChangeArrowheads="1"/>
              </p:cNvSpPr>
              <p:nvPr/>
            </p:nvSpPr>
            <p:spPr bwMode="auto">
              <a:xfrm>
                <a:off x="92349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39" name="Rectangle 97"/>
              <p:cNvSpPr>
                <a:spLocks noChangeArrowheads="1"/>
              </p:cNvSpPr>
              <p:nvPr/>
            </p:nvSpPr>
            <p:spPr bwMode="auto">
              <a:xfrm>
                <a:off x="986370" y="420512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0" name="Rectangle 98"/>
              <p:cNvSpPr>
                <a:spLocks noChangeArrowheads="1"/>
              </p:cNvSpPr>
              <p:nvPr/>
            </p:nvSpPr>
            <p:spPr bwMode="auto">
              <a:xfrm>
                <a:off x="1046102"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1" name="Rectangle 99"/>
              <p:cNvSpPr>
                <a:spLocks noChangeArrowheads="1"/>
              </p:cNvSpPr>
              <p:nvPr/>
            </p:nvSpPr>
            <p:spPr bwMode="auto">
              <a:xfrm>
                <a:off x="110897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2" name="Rectangle 100"/>
              <p:cNvSpPr>
                <a:spLocks noChangeArrowheads="1"/>
              </p:cNvSpPr>
              <p:nvPr/>
            </p:nvSpPr>
            <p:spPr bwMode="auto">
              <a:xfrm>
                <a:off x="1168705"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3" name="Rectangle 101"/>
              <p:cNvSpPr>
                <a:spLocks noChangeArrowheads="1"/>
              </p:cNvSpPr>
              <p:nvPr/>
            </p:nvSpPr>
            <p:spPr bwMode="auto">
              <a:xfrm>
                <a:off x="1231579"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4" name="Oval 102"/>
              <p:cNvSpPr>
                <a:spLocks noChangeArrowheads="1"/>
              </p:cNvSpPr>
              <p:nvPr/>
            </p:nvSpPr>
            <p:spPr bwMode="auto">
              <a:xfrm>
                <a:off x="1803732" y="4261714"/>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5" name="Rectangle 103"/>
              <p:cNvSpPr>
                <a:spLocks noChangeArrowheads="1"/>
              </p:cNvSpPr>
              <p:nvPr/>
            </p:nvSpPr>
            <p:spPr bwMode="auto">
              <a:xfrm>
                <a:off x="882629" y="4513210"/>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6" name="Rectangle 104"/>
              <p:cNvSpPr>
                <a:spLocks noChangeArrowheads="1"/>
              </p:cNvSpPr>
              <p:nvPr/>
            </p:nvSpPr>
            <p:spPr bwMode="auto">
              <a:xfrm>
                <a:off x="92349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7" name="Rectangle 105"/>
              <p:cNvSpPr>
                <a:spLocks noChangeArrowheads="1"/>
              </p:cNvSpPr>
              <p:nvPr/>
            </p:nvSpPr>
            <p:spPr bwMode="auto">
              <a:xfrm>
                <a:off x="986370" y="4560366"/>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8" name="Rectangle 106"/>
              <p:cNvSpPr>
                <a:spLocks noChangeArrowheads="1"/>
              </p:cNvSpPr>
              <p:nvPr/>
            </p:nvSpPr>
            <p:spPr bwMode="auto">
              <a:xfrm>
                <a:off x="1046102"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49" name="Rectangle 107"/>
              <p:cNvSpPr>
                <a:spLocks noChangeArrowheads="1"/>
              </p:cNvSpPr>
              <p:nvPr/>
            </p:nvSpPr>
            <p:spPr bwMode="auto">
              <a:xfrm>
                <a:off x="110897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0" name="Rectangle 108"/>
              <p:cNvSpPr>
                <a:spLocks noChangeArrowheads="1"/>
              </p:cNvSpPr>
              <p:nvPr/>
            </p:nvSpPr>
            <p:spPr bwMode="auto">
              <a:xfrm>
                <a:off x="1168705"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1" name="Rectangle 109"/>
              <p:cNvSpPr>
                <a:spLocks noChangeArrowheads="1"/>
              </p:cNvSpPr>
              <p:nvPr/>
            </p:nvSpPr>
            <p:spPr bwMode="auto">
              <a:xfrm>
                <a:off x="1231579"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2" name="Oval 110"/>
              <p:cNvSpPr>
                <a:spLocks noChangeArrowheads="1"/>
              </p:cNvSpPr>
              <p:nvPr/>
            </p:nvSpPr>
            <p:spPr bwMode="auto">
              <a:xfrm>
                <a:off x="1803732" y="4616952"/>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3" name="Rectangle 111"/>
              <p:cNvSpPr>
                <a:spLocks noChangeArrowheads="1"/>
              </p:cNvSpPr>
              <p:nvPr/>
            </p:nvSpPr>
            <p:spPr bwMode="auto">
              <a:xfrm>
                <a:off x="882629" y="4868447"/>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4" name="Rectangle 112"/>
              <p:cNvSpPr>
                <a:spLocks noChangeArrowheads="1"/>
              </p:cNvSpPr>
              <p:nvPr/>
            </p:nvSpPr>
            <p:spPr bwMode="auto">
              <a:xfrm>
                <a:off x="92349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5" name="Rectangle 113"/>
              <p:cNvSpPr>
                <a:spLocks noChangeArrowheads="1"/>
              </p:cNvSpPr>
              <p:nvPr/>
            </p:nvSpPr>
            <p:spPr bwMode="auto">
              <a:xfrm>
                <a:off x="986370" y="4918746"/>
                <a:ext cx="28294"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6" name="Rectangle 114"/>
              <p:cNvSpPr>
                <a:spLocks noChangeArrowheads="1"/>
              </p:cNvSpPr>
              <p:nvPr/>
            </p:nvSpPr>
            <p:spPr bwMode="auto">
              <a:xfrm>
                <a:off x="1046102"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7" name="Rectangle 115"/>
              <p:cNvSpPr>
                <a:spLocks noChangeArrowheads="1"/>
              </p:cNvSpPr>
              <p:nvPr/>
            </p:nvSpPr>
            <p:spPr bwMode="auto">
              <a:xfrm>
                <a:off x="110897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8" name="Rectangle 116"/>
              <p:cNvSpPr>
                <a:spLocks noChangeArrowheads="1"/>
              </p:cNvSpPr>
              <p:nvPr/>
            </p:nvSpPr>
            <p:spPr bwMode="auto">
              <a:xfrm>
                <a:off x="1168705"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59" name="Rectangle 117"/>
              <p:cNvSpPr>
                <a:spLocks noChangeArrowheads="1"/>
              </p:cNvSpPr>
              <p:nvPr/>
            </p:nvSpPr>
            <p:spPr bwMode="auto">
              <a:xfrm>
                <a:off x="1231579"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160" name="Oval 118"/>
              <p:cNvSpPr>
                <a:spLocks noChangeArrowheads="1"/>
              </p:cNvSpPr>
              <p:nvPr/>
            </p:nvSpPr>
            <p:spPr bwMode="auto">
              <a:xfrm>
                <a:off x="1803732" y="4975333"/>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grpSp>
      </p:grpSp>
      <p:sp>
        <p:nvSpPr>
          <p:cNvPr id="161" name="Title 2"/>
          <p:cNvSpPr txBox="1">
            <a:spLocks/>
          </p:cNvSpPr>
          <p:nvPr/>
        </p:nvSpPr>
        <p:spPr>
          <a:xfrm>
            <a:off x="501519" y="-1255634"/>
            <a:ext cx="11889564"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rPr>
              <a:t/>
            </a:r>
            <a:br>
              <a:rPr>
                <a:gradFill>
                  <a:gsLst>
                    <a:gs pos="1250">
                      <a:srgbClr val="FFFFFF"/>
                    </a:gs>
                    <a:gs pos="100000">
                      <a:srgbClr val="FFFFFF"/>
                    </a:gs>
                  </a:gsLst>
                  <a:lin ang="5400000" scaled="0"/>
                </a:gradFill>
              </a:rPr>
            </a:br>
            <a:endParaRPr sz="4000">
              <a:gradFill>
                <a:gsLst>
                  <a:gs pos="16814">
                    <a:srgbClr val="47D8FF"/>
                  </a:gs>
                  <a:gs pos="23000">
                    <a:srgbClr val="47D8FF"/>
                  </a:gs>
                </a:gsLst>
                <a:lin ang="5400000" scaled="0"/>
              </a:gradFill>
            </a:endParaRPr>
          </a:p>
        </p:txBody>
      </p:sp>
      <p:sp>
        <p:nvSpPr>
          <p:cNvPr id="4" name="Title 3"/>
          <p:cNvSpPr>
            <a:spLocks noGrp="1"/>
          </p:cNvSpPr>
          <p:nvPr>
            <p:ph type="title"/>
          </p:nvPr>
        </p:nvSpPr>
        <p:spPr>
          <a:xfrm>
            <a:off x="274638" y="295275"/>
            <a:ext cx="5379817" cy="917575"/>
          </a:xfrm>
        </p:spPr>
        <p:txBody>
          <a:bodyPr/>
          <a:lstStyle/>
          <a:p>
            <a:r>
              <a:rPr lang="en-US" sz="4400" dirty="0" smtClean="0"/>
              <a:t>Enhanced Analysis- Tabular </a:t>
            </a:r>
            <a:endParaRPr lang="en-US" sz="4400" dirty="0"/>
          </a:p>
        </p:txBody>
      </p:sp>
      <p:sp>
        <p:nvSpPr>
          <p:cNvPr id="5" name="Text Placeholder 4"/>
          <p:cNvSpPr>
            <a:spLocks noGrp="1"/>
          </p:cNvSpPr>
          <p:nvPr>
            <p:ph type="body" sz="quarter" idx="10"/>
          </p:nvPr>
        </p:nvSpPr>
        <p:spPr>
          <a:xfrm>
            <a:off x="274638" y="2450592"/>
            <a:ext cx="5303526" cy="3570208"/>
          </a:xfrm>
        </p:spPr>
        <p:txBody>
          <a:bodyPr/>
          <a:lstStyle/>
          <a:p>
            <a:pPr lvl="1"/>
            <a:r>
              <a:rPr lang="en-US" dirty="0"/>
              <a:t>Advanced </a:t>
            </a:r>
            <a:r>
              <a:rPr lang="en-US" dirty="0" smtClean="0"/>
              <a:t>modeling</a:t>
            </a:r>
            <a:br>
              <a:rPr lang="en-US" dirty="0" smtClean="0"/>
            </a:br>
            <a:r>
              <a:rPr lang="en-US" sz="2000" dirty="0" smtClean="0"/>
              <a:t>(M:M, BI Directional Cross Filtering)</a:t>
            </a:r>
            <a:endParaRPr lang="en-US" dirty="0"/>
          </a:p>
          <a:p>
            <a:pPr lvl="1">
              <a:spcBef>
                <a:spcPts val="1200"/>
              </a:spcBef>
            </a:pPr>
            <a:r>
              <a:rPr lang="en-US" dirty="0" smtClean="0"/>
              <a:t>Time intelligence</a:t>
            </a:r>
          </a:p>
          <a:p>
            <a:pPr lvl="1">
              <a:spcBef>
                <a:spcPts val="1200"/>
              </a:spcBef>
            </a:pPr>
            <a:r>
              <a:rPr lang="en-US" dirty="0" smtClean="0"/>
              <a:t>New DAX functions</a:t>
            </a:r>
          </a:p>
          <a:p>
            <a:pPr lvl="1">
              <a:spcBef>
                <a:spcPts val="1200"/>
              </a:spcBef>
            </a:pPr>
            <a:r>
              <a:rPr lang="en-US" dirty="0" smtClean="0"/>
              <a:t>Performance</a:t>
            </a:r>
            <a:br>
              <a:rPr lang="en-US" dirty="0" smtClean="0"/>
            </a:br>
            <a:r>
              <a:rPr lang="en-US" sz="2000" dirty="0" smtClean="0"/>
              <a:t>(Query and Metadata operations)</a:t>
            </a:r>
          </a:p>
          <a:p>
            <a:pPr lvl="1">
              <a:spcBef>
                <a:spcPts val="1200"/>
              </a:spcBef>
            </a:pPr>
            <a:r>
              <a:rPr lang="en-US" dirty="0" smtClean="0"/>
              <a:t>Parallel </a:t>
            </a:r>
            <a:r>
              <a:rPr lang="en-US" dirty="0"/>
              <a:t>Partition </a:t>
            </a:r>
            <a:r>
              <a:rPr lang="en-US" dirty="0" smtClean="0"/>
              <a:t>Processing</a:t>
            </a:r>
            <a:endParaRPr lang="en-US" sz="3200" dirty="0">
              <a:latin typeface="+mj-lt"/>
            </a:endParaRPr>
          </a:p>
        </p:txBody>
      </p:sp>
      <p:sp>
        <p:nvSpPr>
          <p:cNvPr id="8" name="Text Placeholder 7"/>
          <p:cNvSpPr>
            <a:spLocks noGrp="1"/>
          </p:cNvSpPr>
          <p:nvPr>
            <p:ph type="body" sz="quarter" idx="11"/>
          </p:nvPr>
        </p:nvSpPr>
        <p:spPr>
          <a:xfrm>
            <a:off x="274638" y="1600200"/>
            <a:ext cx="5379817" cy="572464"/>
          </a:xfrm>
        </p:spPr>
        <p:txBody>
          <a:bodyPr/>
          <a:lstStyle/>
          <a:p>
            <a:r>
              <a:rPr lang="en-US" dirty="0" smtClean="0"/>
              <a:t>SQL Server 2016 Analysis Services</a:t>
            </a:r>
            <a:endParaRPr lang="en-US" dirty="0"/>
          </a:p>
        </p:txBody>
      </p:sp>
    </p:spTree>
    <p:extLst>
      <p:ext uri="{BB962C8B-B14F-4D97-AF65-F5344CB8AC3E}">
        <p14:creationId xmlns:p14="http://schemas.microsoft.com/office/powerpoint/2010/main" val="167864174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6" y="449262"/>
            <a:ext cx="11483857" cy="4782848"/>
          </a:xfrm>
        </p:spPr>
        <p:txBody>
          <a:bodyPr/>
          <a:lstStyle/>
          <a:p>
            <a:r>
              <a:rPr lang="en-US" sz="5400" i="1" dirty="0"/>
              <a:t>Please tweet using any of </a:t>
            </a:r>
            <a:r>
              <a:rPr lang="en-US" sz="5400" i="1" dirty="0" smtClean="0"/>
              <a:t>these #tags </a:t>
            </a:r>
            <a:r>
              <a:rPr lang="en-US" sz="8000" i="1" dirty="0"/>
              <a:t/>
            </a:r>
            <a:br>
              <a:rPr lang="en-US" sz="8000" i="1" dirty="0"/>
            </a:br>
            <a:r>
              <a:rPr lang="en-US" sz="8000" i="1" dirty="0"/>
              <a:t/>
            </a:r>
            <a:br>
              <a:rPr lang="en-US" sz="8000" i="1" dirty="0"/>
            </a:br>
            <a:r>
              <a:rPr lang="en-US" sz="4800" b="1" dirty="0"/>
              <a:t>#</a:t>
            </a:r>
            <a:r>
              <a:rPr lang="en-US" sz="4800" b="1" dirty="0" err="1"/>
              <a:t>PowerBI</a:t>
            </a:r>
            <a:r>
              <a:rPr lang="en-US" sz="4800" b="1" dirty="0"/>
              <a:t>, </a:t>
            </a:r>
            <a:r>
              <a:rPr lang="en-US" sz="4800" b="1" dirty="0" smtClean="0"/>
              <a:t/>
            </a:r>
            <a:br>
              <a:rPr lang="en-US" sz="4800" b="1" dirty="0" smtClean="0"/>
            </a:br>
            <a:r>
              <a:rPr lang="en-US" sz="4800" b="1" dirty="0" smtClean="0"/>
              <a:t>#</a:t>
            </a:r>
            <a:r>
              <a:rPr lang="en-US" sz="4800" b="1" dirty="0" err="1"/>
              <a:t>MSIgnite</a:t>
            </a:r>
            <a:r>
              <a:rPr lang="en-US" sz="4800" b="1" dirty="0"/>
              <a:t>, </a:t>
            </a:r>
            <a:r>
              <a:rPr lang="en-US" sz="4800" b="1" dirty="0" smtClean="0"/>
              <a:t/>
            </a:r>
            <a:br>
              <a:rPr lang="en-US" sz="4800" b="1" dirty="0" smtClean="0"/>
            </a:br>
            <a:r>
              <a:rPr lang="en-US" sz="4800" b="1" dirty="0" smtClean="0"/>
              <a:t>#</a:t>
            </a:r>
            <a:r>
              <a:rPr lang="en-US" sz="4800" b="1" dirty="0" err="1"/>
              <a:t>msbirocks</a:t>
            </a:r>
            <a:r>
              <a:rPr lang="en-US" sz="4800" b="1" dirty="0"/>
              <a:t>, </a:t>
            </a:r>
            <a:r>
              <a:rPr lang="en-US" sz="4800" b="1" dirty="0" smtClean="0"/>
              <a:t/>
            </a:r>
            <a:br>
              <a:rPr lang="en-US" sz="4800" b="1" dirty="0" smtClean="0"/>
            </a:br>
            <a:r>
              <a:rPr lang="en-US" sz="4800" b="1" dirty="0" smtClean="0"/>
              <a:t>#</a:t>
            </a:r>
            <a:r>
              <a:rPr lang="en-US" sz="4800" b="1" dirty="0" err="1"/>
              <a:t>mspowerbi</a:t>
            </a:r>
            <a:endParaRPr lang="en-US" sz="4800" dirty="0"/>
          </a:p>
        </p:txBody>
      </p:sp>
      <p:pic>
        <p:nvPicPr>
          <p:cNvPr id="4" name="Picture 3"/>
          <p:cNvPicPr>
            <a:picLocks noChangeAspect="1"/>
          </p:cNvPicPr>
          <p:nvPr/>
        </p:nvPicPr>
        <p:blipFill>
          <a:blip r:embed="rId2">
            <a:clrChange>
              <a:clrFrom>
                <a:srgbClr val="000000"/>
              </a:clrFrom>
              <a:clrTo>
                <a:srgbClr val="000000">
                  <a:alpha val="0"/>
                </a:srgbClr>
              </a:clrTo>
            </a:clrChange>
          </a:blip>
          <a:stretch>
            <a:fillRect/>
          </a:stretch>
        </p:blipFill>
        <p:spPr>
          <a:xfrm>
            <a:off x="7513637" y="2278062"/>
            <a:ext cx="4244857" cy="3446824"/>
          </a:xfrm>
          <a:prstGeom prst="rect">
            <a:avLst/>
          </a:prstGeom>
        </p:spPr>
      </p:pic>
    </p:spTree>
    <p:extLst>
      <p:ext uri="{BB962C8B-B14F-4D97-AF65-F5344CB8AC3E}">
        <p14:creationId xmlns:p14="http://schemas.microsoft.com/office/powerpoint/2010/main" val="2988432473"/>
      </p:ext>
    </p:extLst>
  </p:cSld>
  <p:clrMapOvr>
    <a:masterClrMapping/>
  </p:clrMapOvr>
  <p:transition spd="slow">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Title 2"/>
          <p:cNvSpPr txBox="1">
            <a:spLocks/>
          </p:cNvSpPr>
          <p:nvPr/>
        </p:nvSpPr>
        <p:spPr>
          <a:xfrm>
            <a:off x="823336" y="-1897639"/>
            <a:ext cx="11889564" cy="917575"/>
          </a:xfrm>
          <a:prstGeom prst="rect">
            <a:avLst/>
          </a:prstGeom>
        </p:spPr>
        <p:txBody>
          <a:bodyPr vert="horz" wrap="square" lIns="146304" tIns="91440" rIns="146304" bIns="91440" rtlCol="0" anchor="t">
            <a:noAutofit/>
          </a:bodyPr>
          <a:lst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4000">
              <a:gradFill>
                <a:gsLst>
                  <a:gs pos="16814">
                    <a:srgbClr val="47D8FF"/>
                  </a:gs>
                  <a:gs pos="23000">
                    <a:srgbClr val="47D8FF"/>
                  </a:gs>
                </a:gsLst>
                <a:lin ang="5400000" scaled="0"/>
              </a:gradFill>
            </a:endParaRPr>
          </a:p>
        </p:txBody>
      </p:sp>
      <p:sp>
        <p:nvSpPr>
          <p:cNvPr id="2" name="Title 1"/>
          <p:cNvSpPr>
            <a:spLocks noGrp="1"/>
          </p:cNvSpPr>
          <p:nvPr>
            <p:ph type="title"/>
          </p:nvPr>
        </p:nvSpPr>
        <p:spPr/>
        <p:txBody>
          <a:bodyPr/>
          <a:lstStyle/>
          <a:p>
            <a:r>
              <a:rPr lang="en-US" sz="4400" dirty="0" smtClean="0"/>
              <a:t>Enhanced Analysis - Multidimensional</a:t>
            </a:r>
            <a:r>
              <a:rPr lang="en-US" dirty="0" smtClean="0"/>
              <a:t/>
            </a:r>
            <a:br>
              <a:rPr lang="en-US" dirty="0" smtClean="0"/>
            </a:br>
            <a:endParaRPr lang="en-US" dirty="0"/>
          </a:p>
        </p:txBody>
      </p:sp>
      <p:sp>
        <p:nvSpPr>
          <p:cNvPr id="8" name="Text Placeholder 7"/>
          <p:cNvSpPr>
            <a:spLocks noGrp="1"/>
          </p:cNvSpPr>
          <p:nvPr>
            <p:ph type="body" sz="quarter" idx="10"/>
          </p:nvPr>
        </p:nvSpPr>
        <p:spPr>
          <a:xfrm>
            <a:off x="274638" y="2453083"/>
            <a:ext cx="5303526" cy="1975926"/>
          </a:xfrm>
        </p:spPr>
        <p:txBody>
          <a:bodyPr/>
          <a:lstStyle/>
          <a:p>
            <a:pPr lvl="1">
              <a:spcBef>
                <a:spcPts val="1200"/>
              </a:spcBef>
            </a:pPr>
            <a:r>
              <a:rPr lang="en-US" dirty="0" err="1" smtClean="0"/>
              <a:t>Netezza</a:t>
            </a:r>
            <a:r>
              <a:rPr lang="en-US" dirty="0" smtClean="0"/>
              <a:t> as a Data Source</a:t>
            </a:r>
          </a:p>
          <a:p>
            <a:pPr lvl="1">
              <a:spcBef>
                <a:spcPts val="1200"/>
              </a:spcBef>
            </a:pPr>
            <a:r>
              <a:rPr lang="en-US" dirty="0" smtClean="0"/>
              <a:t>Performance improvements</a:t>
            </a:r>
          </a:p>
          <a:p>
            <a:pPr lvl="1">
              <a:spcBef>
                <a:spcPts val="1200"/>
              </a:spcBef>
            </a:pPr>
            <a:r>
              <a:rPr lang="en-US" dirty="0" smtClean="0"/>
              <a:t>DBCC support</a:t>
            </a:r>
            <a:endParaRPr lang="en-US" dirty="0"/>
          </a:p>
        </p:txBody>
      </p:sp>
      <p:sp>
        <p:nvSpPr>
          <p:cNvPr id="5" name="Text Placeholder 4"/>
          <p:cNvSpPr>
            <a:spLocks noGrp="1"/>
          </p:cNvSpPr>
          <p:nvPr>
            <p:ph type="body" sz="quarter" idx="11"/>
          </p:nvPr>
        </p:nvSpPr>
        <p:spPr>
          <a:xfrm>
            <a:off x="274638" y="1597154"/>
            <a:ext cx="5379817" cy="1046440"/>
          </a:xfrm>
        </p:spPr>
        <p:txBody>
          <a:bodyPr/>
          <a:lstStyle/>
          <a:p>
            <a:r>
              <a:rPr lang="en-US" dirty="0" smtClean="0"/>
              <a:t>SQL Server 2016 Analysis Services</a:t>
            </a:r>
          </a:p>
          <a:p>
            <a:endParaRPr lang="en-US" dirty="0"/>
          </a:p>
        </p:txBody>
      </p:sp>
      <p:grpSp>
        <p:nvGrpSpPr>
          <p:cNvPr id="317" name="Group 316"/>
          <p:cNvGrpSpPr/>
          <p:nvPr/>
        </p:nvGrpSpPr>
        <p:grpSpPr>
          <a:xfrm>
            <a:off x="6108822" y="845531"/>
            <a:ext cx="5935849" cy="4548171"/>
            <a:chOff x="183263" y="1759921"/>
            <a:chExt cx="3971093" cy="3874150"/>
          </a:xfrm>
        </p:grpSpPr>
        <p:pic>
          <p:nvPicPr>
            <p:cNvPr id="318" name="Picture 3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63409" y="1759921"/>
              <a:ext cx="1555210" cy="1555210"/>
            </a:xfrm>
            <a:prstGeom prst="rect">
              <a:avLst/>
            </a:prstGeom>
          </p:spPr>
        </p:pic>
        <p:sp>
          <p:nvSpPr>
            <p:cNvPr id="319" name="Left Brace 318"/>
            <p:cNvSpPr/>
            <p:nvPr/>
          </p:nvSpPr>
          <p:spPr>
            <a:xfrm rot="5400000">
              <a:off x="1930769" y="1591101"/>
              <a:ext cx="489070" cy="3701191"/>
            </a:xfrm>
            <a:prstGeom prst="leftBrace">
              <a:avLst>
                <a:gd name="adj1" fmla="val 141049"/>
                <a:gd name="adj2" fmla="val 50512"/>
              </a:avLst>
            </a:prstGeom>
            <a:ln w="38100">
              <a:solidFill>
                <a:srgbClr val="003C6C"/>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a:endParaRPr lang="en-US">
                <a:solidFill>
                  <a:srgbClr val="000000"/>
                </a:solidFill>
              </a:endParaRPr>
            </a:p>
          </p:txBody>
        </p:sp>
        <p:sp>
          <p:nvSpPr>
            <p:cNvPr id="320" name="Rectangle 69"/>
            <p:cNvSpPr>
              <a:spLocks noChangeArrowheads="1"/>
            </p:cNvSpPr>
            <p:nvPr/>
          </p:nvSpPr>
          <p:spPr bwMode="auto">
            <a:xfrm>
              <a:off x="183263" y="3680140"/>
              <a:ext cx="3971093" cy="1953931"/>
            </a:xfrm>
            <a:prstGeom prst="rect">
              <a:avLst/>
            </a:prstGeom>
            <a:solidFill>
              <a:schemeClr val="accent1">
                <a:lumMod val="50000"/>
              </a:schemeClr>
            </a:solidFill>
            <a:ln>
              <a:noFill/>
            </a:ln>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grpSp>
          <p:nvGrpSpPr>
            <p:cNvPr id="321" name="Group 320"/>
            <p:cNvGrpSpPr/>
            <p:nvPr/>
          </p:nvGrpSpPr>
          <p:grpSpPr>
            <a:xfrm>
              <a:off x="457580" y="3845008"/>
              <a:ext cx="832101" cy="1624194"/>
              <a:chOff x="810323" y="3007385"/>
              <a:chExt cx="1226042" cy="2393136"/>
            </a:xfrm>
          </p:grpSpPr>
          <p:sp>
            <p:nvSpPr>
              <p:cNvPr id="422" name="Rectangle 70"/>
              <p:cNvSpPr>
                <a:spLocks noChangeArrowheads="1"/>
              </p:cNvSpPr>
              <p:nvPr/>
            </p:nvSpPr>
            <p:spPr bwMode="auto">
              <a:xfrm>
                <a:off x="810323" y="3007385"/>
                <a:ext cx="1226042" cy="23931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3" name="Rectangle 71"/>
              <p:cNvSpPr>
                <a:spLocks noChangeArrowheads="1"/>
              </p:cNvSpPr>
              <p:nvPr/>
            </p:nvSpPr>
            <p:spPr bwMode="auto">
              <a:xfrm>
                <a:off x="882629" y="3085975"/>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4" name="Rectangle 72"/>
              <p:cNvSpPr>
                <a:spLocks noChangeArrowheads="1"/>
              </p:cNvSpPr>
              <p:nvPr/>
            </p:nvSpPr>
            <p:spPr bwMode="auto">
              <a:xfrm>
                <a:off x="92349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5" name="Rectangle 73"/>
              <p:cNvSpPr>
                <a:spLocks noChangeArrowheads="1"/>
              </p:cNvSpPr>
              <p:nvPr/>
            </p:nvSpPr>
            <p:spPr bwMode="auto">
              <a:xfrm>
                <a:off x="986370" y="3136274"/>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6" name="Rectangle 74"/>
              <p:cNvSpPr>
                <a:spLocks noChangeArrowheads="1"/>
              </p:cNvSpPr>
              <p:nvPr/>
            </p:nvSpPr>
            <p:spPr bwMode="auto">
              <a:xfrm>
                <a:off x="1046102"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7" name="Rectangle 75"/>
              <p:cNvSpPr>
                <a:spLocks noChangeArrowheads="1"/>
              </p:cNvSpPr>
              <p:nvPr/>
            </p:nvSpPr>
            <p:spPr bwMode="auto">
              <a:xfrm>
                <a:off x="110897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8" name="Rectangle 76"/>
              <p:cNvSpPr>
                <a:spLocks noChangeArrowheads="1"/>
              </p:cNvSpPr>
              <p:nvPr/>
            </p:nvSpPr>
            <p:spPr bwMode="auto">
              <a:xfrm>
                <a:off x="1168705"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9" name="Rectangle 77"/>
              <p:cNvSpPr>
                <a:spLocks noChangeArrowheads="1"/>
              </p:cNvSpPr>
              <p:nvPr/>
            </p:nvSpPr>
            <p:spPr bwMode="auto">
              <a:xfrm>
                <a:off x="1231579"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0" name="Oval 78"/>
              <p:cNvSpPr>
                <a:spLocks noChangeArrowheads="1"/>
              </p:cNvSpPr>
              <p:nvPr/>
            </p:nvSpPr>
            <p:spPr bwMode="auto">
              <a:xfrm>
                <a:off x="1803732" y="3192860"/>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1" name="Rectangle 79"/>
              <p:cNvSpPr>
                <a:spLocks noChangeArrowheads="1"/>
              </p:cNvSpPr>
              <p:nvPr/>
            </p:nvSpPr>
            <p:spPr bwMode="auto">
              <a:xfrm>
                <a:off x="882629" y="3444355"/>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2" name="Rectangle 80"/>
              <p:cNvSpPr>
                <a:spLocks noChangeArrowheads="1"/>
              </p:cNvSpPr>
              <p:nvPr/>
            </p:nvSpPr>
            <p:spPr bwMode="auto">
              <a:xfrm>
                <a:off x="92349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3" name="Rectangle 81"/>
              <p:cNvSpPr>
                <a:spLocks noChangeArrowheads="1"/>
              </p:cNvSpPr>
              <p:nvPr/>
            </p:nvSpPr>
            <p:spPr bwMode="auto">
              <a:xfrm>
                <a:off x="986370" y="3491512"/>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4" name="Rectangle 82"/>
              <p:cNvSpPr>
                <a:spLocks noChangeArrowheads="1"/>
              </p:cNvSpPr>
              <p:nvPr/>
            </p:nvSpPr>
            <p:spPr bwMode="auto">
              <a:xfrm>
                <a:off x="1046102"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5" name="Rectangle 83"/>
              <p:cNvSpPr>
                <a:spLocks noChangeArrowheads="1"/>
              </p:cNvSpPr>
              <p:nvPr/>
            </p:nvSpPr>
            <p:spPr bwMode="auto">
              <a:xfrm>
                <a:off x="110897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6" name="Rectangle 84"/>
              <p:cNvSpPr>
                <a:spLocks noChangeArrowheads="1"/>
              </p:cNvSpPr>
              <p:nvPr/>
            </p:nvSpPr>
            <p:spPr bwMode="auto">
              <a:xfrm>
                <a:off x="1168705"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7" name="Rectangle 85"/>
              <p:cNvSpPr>
                <a:spLocks noChangeArrowheads="1"/>
              </p:cNvSpPr>
              <p:nvPr/>
            </p:nvSpPr>
            <p:spPr bwMode="auto">
              <a:xfrm>
                <a:off x="1231579"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8" name="Oval 86"/>
              <p:cNvSpPr>
                <a:spLocks noChangeArrowheads="1"/>
              </p:cNvSpPr>
              <p:nvPr/>
            </p:nvSpPr>
            <p:spPr bwMode="auto">
              <a:xfrm>
                <a:off x="1803732" y="3548098"/>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39" name="Rectangle 87"/>
              <p:cNvSpPr>
                <a:spLocks noChangeArrowheads="1"/>
              </p:cNvSpPr>
              <p:nvPr/>
            </p:nvSpPr>
            <p:spPr bwMode="auto">
              <a:xfrm>
                <a:off x="882629" y="3799593"/>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0" name="Rectangle 88"/>
              <p:cNvSpPr>
                <a:spLocks noChangeArrowheads="1"/>
              </p:cNvSpPr>
              <p:nvPr/>
            </p:nvSpPr>
            <p:spPr bwMode="auto">
              <a:xfrm>
                <a:off x="92349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1" name="Rectangle 89"/>
              <p:cNvSpPr>
                <a:spLocks noChangeArrowheads="1"/>
              </p:cNvSpPr>
              <p:nvPr/>
            </p:nvSpPr>
            <p:spPr bwMode="auto">
              <a:xfrm>
                <a:off x="986370" y="384674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2" name="Rectangle 90"/>
              <p:cNvSpPr>
                <a:spLocks noChangeArrowheads="1"/>
              </p:cNvSpPr>
              <p:nvPr/>
            </p:nvSpPr>
            <p:spPr bwMode="auto">
              <a:xfrm>
                <a:off x="1046102"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3" name="Rectangle 91"/>
              <p:cNvSpPr>
                <a:spLocks noChangeArrowheads="1"/>
              </p:cNvSpPr>
              <p:nvPr/>
            </p:nvSpPr>
            <p:spPr bwMode="auto">
              <a:xfrm>
                <a:off x="110897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4" name="Rectangle 92"/>
              <p:cNvSpPr>
                <a:spLocks noChangeArrowheads="1"/>
              </p:cNvSpPr>
              <p:nvPr/>
            </p:nvSpPr>
            <p:spPr bwMode="auto">
              <a:xfrm>
                <a:off x="1168705"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5" name="Rectangle 93"/>
              <p:cNvSpPr>
                <a:spLocks noChangeArrowheads="1"/>
              </p:cNvSpPr>
              <p:nvPr/>
            </p:nvSpPr>
            <p:spPr bwMode="auto">
              <a:xfrm>
                <a:off x="1231579"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6" name="Oval 94"/>
              <p:cNvSpPr>
                <a:spLocks noChangeArrowheads="1"/>
              </p:cNvSpPr>
              <p:nvPr/>
            </p:nvSpPr>
            <p:spPr bwMode="auto">
              <a:xfrm>
                <a:off x="1803732" y="3906479"/>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7" name="Rectangle 95"/>
              <p:cNvSpPr>
                <a:spLocks noChangeArrowheads="1"/>
              </p:cNvSpPr>
              <p:nvPr/>
            </p:nvSpPr>
            <p:spPr bwMode="auto">
              <a:xfrm>
                <a:off x="882629" y="4154829"/>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8" name="Rectangle 96"/>
              <p:cNvSpPr>
                <a:spLocks noChangeArrowheads="1"/>
              </p:cNvSpPr>
              <p:nvPr/>
            </p:nvSpPr>
            <p:spPr bwMode="auto">
              <a:xfrm>
                <a:off x="92349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49" name="Rectangle 97"/>
              <p:cNvSpPr>
                <a:spLocks noChangeArrowheads="1"/>
              </p:cNvSpPr>
              <p:nvPr/>
            </p:nvSpPr>
            <p:spPr bwMode="auto">
              <a:xfrm>
                <a:off x="986370" y="420512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0" name="Rectangle 98"/>
              <p:cNvSpPr>
                <a:spLocks noChangeArrowheads="1"/>
              </p:cNvSpPr>
              <p:nvPr/>
            </p:nvSpPr>
            <p:spPr bwMode="auto">
              <a:xfrm>
                <a:off x="1046102"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1" name="Rectangle 99"/>
              <p:cNvSpPr>
                <a:spLocks noChangeArrowheads="1"/>
              </p:cNvSpPr>
              <p:nvPr/>
            </p:nvSpPr>
            <p:spPr bwMode="auto">
              <a:xfrm>
                <a:off x="110897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2" name="Rectangle 100"/>
              <p:cNvSpPr>
                <a:spLocks noChangeArrowheads="1"/>
              </p:cNvSpPr>
              <p:nvPr/>
            </p:nvSpPr>
            <p:spPr bwMode="auto">
              <a:xfrm>
                <a:off x="1168705"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3" name="Rectangle 101"/>
              <p:cNvSpPr>
                <a:spLocks noChangeArrowheads="1"/>
              </p:cNvSpPr>
              <p:nvPr/>
            </p:nvSpPr>
            <p:spPr bwMode="auto">
              <a:xfrm>
                <a:off x="1231579"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4" name="Oval 102"/>
              <p:cNvSpPr>
                <a:spLocks noChangeArrowheads="1"/>
              </p:cNvSpPr>
              <p:nvPr/>
            </p:nvSpPr>
            <p:spPr bwMode="auto">
              <a:xfrm>
                <a:off x="1803732" y="4261714"/>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5" name="Rectangle 103"/>
              <p:cNvSpPr>
                <a:spLocks noChangeArrowheads="1"/>
              </p:cNvSpPr>
              <p:nvPr/>
            </p:nvSpPr>
            <p:spPr bwMode="auto">
              <a:xfrm>
                <a:off x="882629" y="4513210"/>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6" name="Rectangle 104"/>
              <p:cNvSpPr>
                <a:spLocks noChangeArrowheads="1"/>
              </p:cNvSpPr>
              <p:nvPr/>
            </p:nvSpPr>
            <p:spPr bwMode="auto">
              <a:xfrm>
                <a:off x="92349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7" name="Rectangle 105"/>
              <p:cNvSpPr>
                <a:spLocks noChangeArrowheads="1"/>
              </p:cNvSpPr>
              <p:nvPr/>
            </p:nvSpPr>
            <p:spPr bwMode="auto">
              <a:xfrm>
                <a:off x="986370" y="4560366"/>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8" name="Rectangle 106"/>
              <p:cNvSpPr>
                <a:spLocks noChangeArrowheads="1"/>
              </p:cNvSpPr>
              <p:nvPr/>
            </p:nvSpPr>
            <p:spPr bwMode="auto">
              <a:xfrm>
                <a:off x="1046102"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59" name="Rectangle 107"/>
              <p:cNvSpPr>
                <a:spLocks noChangeArrowheads="1"/>
              </p:cNvSpPr>
              <p:nvPr/>
            </p:nvSpPr>
            <p:spPr bwMode="auto">
              <a:xfrm>
                <a:off x="110897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0" name="Rectangle 108"/>
              <p:cNvSpPr>
                <a:spLocks noChangeArrowheads="1"/>
              </p:cNvSpPr>
              <p:nvPr/>
            </p:nvSpPr>
            <p:spPr bwMode="auto">
              <a:xfrm>
                <a:off x="1168705"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1" name="Rectangle 109"/>
              <p:cNvSpPr>
                <a:spLocks noChangeArrowheads="1"/>
              </p:cNvSpPr>
              <p:nvPr/>
            </p:nvSpPr>
            <p:spPr bwMode="auto">
              <a:xfrm>
                <a:off x="1231579"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2" name="Oval 110"/>
              <p:cNvSpPr>
                <a:spLocks noChangeArrowheads="1"/>
              </p:cNvSpPr>
              <p:nvPr/>
            </p:nvSpPr>
            <p:spPr bwMode="auto">
              <a:xfrm>
                <a:off x="1803732" y="4616952"/>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3" name="Rectangle 111"/>
              <p:cNvSpPr>
                <a:spLocks noChangeArrowheads="1"/>
              </p:cNvSpPr>
              <p:nvPr/>
            </p:nvSpPr>
            <p:spPr bwMode="auto">
              <a:xfrm>
                <a:off x="882629" y="4868447"/>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4" name="Rectangle 112"/>
              <p:cNvSpPr>
                <a:spLocks noChangeArrowheads="1"/>
              </p:cNvSpPr>
              <p:nvPr/>
            </p:nvSpPr>
            <p:spPr bwMode="auto">
              <a:xfrm>
                <a:off x="92349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5" name="Rectangle 113"/>
              <p:cNvSpPr>
                <a:spLocks noChangeArrowheads="1"/>
              </p:cNvSpPr>
              <p:nvPr/>
            </p:nvSpPr>
            <p:spPr bwMode="auto">
              <a:xfrm>
                <a:off x="986370" y="4918746"/>
                <a:ext cx="28294"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6" name="Rectangle 114"/>
              <p:cNvSpPr>
                <a:spLocks noChangeArrowheads="1"/>
              </p:cNvSpPr>
              <p:nvPr/>
            </p:nvSpPr>
            <p:spPr bwMode="auto">
              <a:xfrm>
                <a:off x="1046102"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7" name="Rectangle 115"/>
              <p:cNvSpPr>
                <a:spLocks noChangeArrowheads="1"/>
              </p:cNvSpPr>
              <p:nvPr/>
            </p:nvSpPr>
            <p:spPr bwMode="auto">
              <a:xfrm>
                <a:off x="110897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8" name="Rectangle 116"/>
              <p:cNvSpPr>
                <a:spLocks noChangeArrowheads="1"/>
              </p:cNvSpPr>
              <p:nvPr/>
            </p:nvSpPr>
            <p:spPr bwMode="auto">
              <a:xfrm>
                <a:off x="1168705"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69" name="Rectangle 117"/>
              <p:cNvSpPr>
                <a:spLocks noChangeArrowheads="1"/>
              </p:cNvSpPr>
              <p:nvPr/>
            </p:nvSpPr>
            <p:spPr bwMode="auto">
              <a:xfrm>
                <a:off x="1231579"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70" name="Oval 118"/>
              <p:cNvSpPr>
                <a:spLocks noChangeArrowheads="1"/>
              </p:cNvSpPr>
              <p:nvPr/>
            </p:nvSpPr>
            <p:spPr bwMode="auto">
              <a:xfrm>
                <a:off x="1803732" y="4975333"/>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grpSp>
        <p:grpSp>
          <p:nvGrpSpPr>
            <p:cNvPr id="322" name="Group 321"/>
            <p:cNvGrpSpPr/>
            <p:nvPr/>
          </p:nvGrpSpPr>
          <p:grpSpPr>
            <a:xfrm>
              <a:off x="1669557" y="3865006"/>
              <a:ext cx="832101" cy="1624194"/>
              <a:chOff x="810323" y="3007385"/>
              <a:chExt cx="1226042" cy="2393136"/>
            </a:xfrm>
          </p:grpSpPr>
          <p:sp>
            <p:nvSpPr>
              <p:cNvPr id="373" name="Rectangle 70"/>
              <p:cNvSpPr>
                <a:spLocks noChangeArrowheads="1"/>
              </p:cNvSpPr>
              <p:nvPr/>
            </p:nvSpPr>
            <p:spPr bwMode="auto">
              <a:xfrm>
                <a:off x="810323" y="3007385"/>
                <a:ext cx="1226042" cy="23931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4" name="Rectangle 71"/>
              <p:cNvSpPr>
                <a:spLocks noChangeArrowheads="1"/>
              </p:cNvSpPr>
              <p:nvPr/>
            </p:nvSpPr>
            <p:spPr bwMode="auto">
              <a:xfrm>
                <a:off x="882629" y="3085975"/>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5" name="Rectangle 72"/>
              <p:cNvSpPr>
                <a:spLocks noChangeArrowheads="1"/>
              </p:cNvSpPr>
              <p:nvPr/>
            </p:nvSpPr>
            <p:spPr bwMode="auto">
              <a:xfrm>
                <a:off x="92349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6" name="Rectangle 73"/>
              <p:cNvSpPr>
                <a:spLocks noChangeArrowheads="1"/>
              </p:cNvSpPr>
              <p:nvPr/>
            </p:nvSpPr>
            <p:spPr bwMode="auto">
              <a:xfrm>
                <a:off x="986370" y="3136274"/>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7" name="Rectangle 74"/>
              <p:cNvSpPr>
                <a:spLocks noChangeArrowheads="1"/>
              </p:cNvSpPr>
              <p:nvPr/>
            </p:nvSpPr>
            <p:spPr bwMode="auto">
              <a:xfrm>
                <a:off x="1046102"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8" name="Rectangle 75"/>
              <p:cNvSpPr>
                <a:spLocks noChangeArrowheads="1"/>
              </p:cNvSpPr>
              <p:nvPr/>
            </p:nvSpPr>
            <p:spPr bwMode="auto">
              <a:xfrm>
                <a:off x="110897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9" name="Rectangle 76"/>
              <p:cNvSpPr>
                <a:spLocks noChangeArrowheads="1"/>
              </p:cNvSpPr>
              <p:nvPr/>
            </p:nvSpPr>
            <p:spPr bwMode="auto">
              <a:xfrm>
                <a:off x="1168705"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0" name="Rectangle 77"/>
              <p:cNvSpPr>
                <a:spLocks noChangeArrowheads="1"/>
              </p:cNvSpPr>
              <p:nvPr/>
            </p:nvSpPr>
            <p:spPr bwMode="auto">
              <a:xfrm>
                <a:off x="1231579"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1" name="Oval 78"/>
              <p:cNvSpPr>
                <a:spLocks noChangeArrowheads="1"/>
              </p:cNvSpPr>
              <p:nvPr/>
            </p:nvSpPr>
            <p:spPr bwMode="auto">
              <a:xfrm>
                <a:off x="1803732" y="3192860"/>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2" name="Rectangle 79"/>
              <p:cNvSpPr>
                <a:spLocks noChangeArrowheads="1"/>
              </p:cNvSpPr>
              <p:nvPr/>
            </p:nvSpPr>
            <p:spPr bwMode="auto">
              <a:xfrm>
                <a:off x="882629" y="3444355"/>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3" name="Rectangle 80"/>
              <p:cNvSpPr>
                <a:spLocks noChangeArrowheads="1"/>
              </p:cNvSpPr>
              <p:nvPr/>
            </p:nvSpPr>
            <p:spPr bwMode="auto">
              <a:xfrm>
                <a:off x="92349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4" name="Rectangle 81"/>
              <p:cNvSpPr>
                <a:spLocks noChangeArrowheads="1"/>
              </p:cNvSpPr>
              <p:nvPr/>
            </p:nvSpPr>
            <p:spPr bwMode="auto">
              <a:xfrm>
                <a:off x="986370" y="3491512"/>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5" name="Rectangle 82"/>
              <p:cNvSpPr>
                <a:spLocks noChangeArrowheads="1"/>
              </p:cNvSpPr>
              <p:nvPr/>
            </p:nvSpPr>
            <p:spPr bwMode="auto">
              <a:xfrm>
                <a:off x="1046102"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6" name="Rectangle 83"/>
              <p:cNvSpPr>
                <a:spLocks noChangeArrowheads="1"/>
              </p:cNvSpPr>
              <p:nvPr/>
            </p:nvSpPr>
            <p:spPr bwMode="auto">
              <a:xfrm>
                <a:off x="110897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7" name="Rectangle 84"/>
              <p:cNvSpPr>
                <a:spLocks noChangeArrowheads="1"/>
              </p:cNvSpPr>
              <p:nvPr/>
            </p:nvSpPr>
            <p:spPr bwMode="auto">
              <a:xfrm>
                <a:off x="1168705"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8" name="Rectangle 85"/>
              <p:cNvSpPr>
                <a:spLocks noChangeArrowheads="1"/>
              </p:cNvSpPr>
              <p:nvPr/>
            </p:nvSpPr>
            <p:spPr bwMode="auto">
              <a:xfrm>
                <a:off x="1231579"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89" name="Oval 86"/>
              <p:cNvSpPr>
                <a:spLocks noChangeArrowheads="1"/>
              </p:cNvSpPr>
              <p:nvPr/>
            </p:nvSpPr>
            <p:spPr bwMode="auto">
              <a:xfrm>
                <a:off x="1803732" y="3548098"/>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0" name="Rectangle 87"/>
              <p:cNvSpPr>
                <a:spLocks noChangeArrowheads="1"/>
              </p:cNvSpPr>
              <p:nvPr/>
            </p:nvSpPr>
            <p:spPr bwMode="auto">
              <a:xfrm>
                <a:off x="882629" y="3799593"/>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1" name="Rectangle 88"/>
              <p:cNvSpPr>
                <a:spLocks noChangeArrowheads="1"/>
              </p:cNvSpPr>
              <p:nvPr/>
            </p:nvSpPr>
            <p:spPr bwMode="auto">
              <a:xfrm>
                <a:off x="92349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2" name="Rectangle 89"/>
              <p:cNvSpPr>
                <a:spLocks noChangeArrowheads="1"/>
              </p:cNvSpPr>
              <p:nvPr/>
            </p:nvSpPr>
            <p:spPr bwMode="auto">
              <a:xfrm>
                <a:off x="986370" y="384674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3" name="Rectangle 90"/>
              <p:cNvSpPr>
                <a:spLocks noChangeArrowheads="1"/>
              </p:cNvSpPr>
              <p:nvPr/>
            </p:nvSpPr>
            <p:spPr bwMode="auto">
              <a:xfrm>
                <a:off x="1046102"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4" name="Rectangle 91"/>
              <p:cNvSpPr>
                <a:spLocks noChangeArrowheads="1"/>
              </p:cNvSpPr>
              <p:nvPr/>
            </p:nvSpPr>
            <p:spPr bwMode="auto">
              <a:xfrm>
                <a:off x="110897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5" name="Rectangle 92"/>
              <p:cNvSpPr>
                <a:spLocks noChangeArrowheads="1"/>
              </p:cNvSpPr>
              <p:nvPr/>
            </p:nvSpPr>
            <p:spPr bwMode="auto">
              <a:xfrm>
                <a:off x="1168705"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6" name="Rectangle 93"/>
              <p:cNvSpPr>
                <a:spLocks noChangeArrowheads="1"/>
              </p:cNvSpPr>
              <p:nvPr/>
            </p:nvSpPr>
            <p:spPr bwMode="auto">
              <a:xfrm>
                <a:off x="1231579"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7" name="Oval 94"/>
              <p:cNvSpPr>
                <a:spLocks noChangeArrowheads="1"/>
              </p:cNvSpPr>
              <p:nvPr/>
            </p:nvSpPr>
            <p:spPr bwMode="auto">
              <a:xfrm>
                <a:off x="1803732" y="3906479"/>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8" name="Rectangle 95"/>
              <p:cNvSpPr>
                <a:spLocks noChangeArrowheads="1"/>
              </p:cNvSpPr>
              <p:nvPr/>
            </p:nvSpPr>
            <p:spPr bwMode="auto">
              <a:xfrm>
                <a:off x="882629" y="4154829"/>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99" name="Rectangle 96"/>
              <p:cNvSpPr>
                <a:spLocks noChangeArrowheads="1"/>
              </p:cNvSpPr>
              <p:nvPr/>
            </p:nvSpPr>
            <p:spPr bwMode="auto">
              <a:xfrm>
                <a:off x="92349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0" name="Rectangle 97"/>
              <p:cNvSpPr>
                <a:spLocks noChangeArrowheads="1"/>
              </p:cNvSpPr>
              <p:nvPr/>
            </p:nvSpPr>
            <p:spPr bwMode="auto">
              <a:xfrm>
                <a:off x="986370" y="420512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1" name="Rectangle 98"/>
              <p:cNvSpPr>
                <a:spLocks noChangeArrowheads="1"/>
              </p:cNvSpPr>
              <p:nvPr/>
            </p:nvSpPr>
            <p:spPr bwMode="auto">
              <a:xfrm>
                <a:off x="1046102"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2" name="Rectangle 99"/>
              <p:cNvSpPr>
                <a:spLocks noChangeArrowheads="1"/>
              </p:cNvSpPr>
              <p:nvPr/>
            </p:nvSpPr>
            <p:spPr bwMode="auto">
              <a:xfrm>
                <a:off x="110897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3" name="Rectangle 100"/>
              <p:cNvSpPr>
                <a:spLocks noChangeArrowheads="1"/>
              </p:cNvSpPr>
              <p:nvPr/>
            </p:nvSpPr>
            <p:spPr bwMode="auto">
              <a:xfrm>
                <a:off x="1168705"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4" name="Rectangle 101"/>
              <p:cNvSpPr>
                <a:spLocks noChangeArrowheads="1"/>
              </p:cNvSpPr>
              <p:nvPr/>
            </p:nvSpPr>
            <p:spPr bwMode="auto">
              <a:xfrm>
                <a:off x="1231579"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5" name="Oval 102"/>
              <p:cNvSpPr>
                <a:spLocks noChangeArrowheads="1"/>
              </p:cNvSpPr>
              <p:nvPr/>
            </p:nvSpPr>
            <p:spPr bwMode="auto">
              <a:xfrm>
                <a:off x="1803732" y="4261714"/>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6" name="Rectangle 103"/>
              <p:cNvSpPr>
                <a:spLocks noChangeArrowheads="1"/>
              </p:cNvSpPr>
              <p:nvPr/>
            </p:nvSpPr>
            <p:spPr bwMode="auto">
              <a:xfrm>
                <a:off x="882629" y="4513210"/>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7" name="Rectangle 104"/>
              <p:cNvSpPr>
                <a:spLocks noChangeArrowheads="1"/>
              </p:cNvSpPr>
              <p:nvPr/>
            </p:nvSpPr>
            <p:spPr bwMode="auto">
              <a:xfrm>
                <a:off x="92349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8" name="Rectangle 105"/>
              <p:cNvSpPr>
                <a:spLocks noChangeArrowheads="1"/>
              </p:cNvSpPr>
              <p:nvPr/>
            </p:nvSpPr>
            <p:spPr bwMode="auto">
              <a:xfrm>
                <a:off x="986370" y="4560366"/>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09" name="Rectangle 106"/>
              <p:cNvSpPr>
                <a:spLocks noChangeArrowheads="1"/>
              </p:cNvSpPr>
              <p:nvPr/>
            </p:nvSpPr>
            <p:spPr bwMode="auto">
              <a:xfrm>
                <a:off x="1046102"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0" name="Rectangle 107"/>
              <p:cNvSpPr>
                <a:spLocks noChangeArrowheads="1"/>
              </p:cNvSpPr>
              <p:nvPr/>
            </p:nvSpPr>
            <p:spPr bwMode="auto">
              <a:xfrm>
                <a:off x="110897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1" name="Rectangle 108"/>
              <p:cNvSpPr>
                <a:spLocks noChangeArrowheads="1"/>
              </p:cNvSpPr>
              <p:nvPr/>
            </p:nvSpPr>
            <p:spPr bwMode="auto">
              <a:xfrm>
                <a:off x="1168705"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2" name="Rectangle 109"/>
              <p:cNvSpPr>
                <a:spLocks noChangeArrowheads="1"/>
              </p:cNvSpPr>
              <p:nvPr/>
            </p:nvSpPr>
            <p:spPr bwMode="auto">
              <a:xfrm>
                <a:off x="1231579"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3" name="Oval 110"/>
              <p:cNvSpPr>
                <a:spLocks noChangeArrowheads="1"/>
              </p:cNvSpPr>
              <p:nvPr/>
            </p:nvSpPr>
            <p:spPr bwMode="auto">
              <a:xfrm>
                <a:off x="1803732" y="4616952"/>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4" name="Rectangle 111"/>
              <p:cNvSpPr>
                <a:spLocks noChangeArrowheads="1"/>
              </p:cNvSpPr>
              <p:nvPr/>
            </p:nvSpPr>
            <p:spPr bwMode="auto">
              <a:xfrm>
                <a:off x="882629" y="4868447"/>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5" name="Rectangle 112"/>
              <p:cNvSpPr>
                <a:spLocks noChangeArrowheads="1"/>
              </p:cNvSpPr>
              <p:nvPr/>
            </p:nvSpPr>
            <p:spPr bwMode="auto">
              <a:xfrm>
                <a:off x="92349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6" name="Rectangle 113"/>
              <p:cNvSpPr>
                <a:spLocks noChangeArrowheads="1"/>
              </p:cNvSpPr>
              <p:nvPr/>
            </p:nvSpPr>
            <p:spPr bwMode="auto">
              <a:xfrm>
                <a:off x="986370" y="4918746"/>
                <a:ext cx="28294"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7" name="Rectangle 114"/>
              <p:cNvSpPr>
                <a:spLocks noChangeArrowheads="1"/>
              </p:cNvSpPr>
              <p:nvPr/>
            </p:nvSpPr>
            <p:spPr bwMode="auto">
              <a:xfrm>
                <a:off x="1046102"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8" name="Rectangle 115"/>
              <p:cNvSpPr>
                <a:spLocks noChangeArrowheads="1"/>
              </p:cNvSpPr>
              <p:nvPr/>
            </p:nvSpPr>
            <p:spPr bwMode="auto">
              <a:xfrm>
                <a:off x="110897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19" name="Rectangle 116"/>
              <p:cNvSpPr>
                <a:spLocks noChangeArrowheads="1"/>
              </p:cNvSpPr>
              <p:nvPr/>
            </p:nvSpPr>
            <p:spPr bwMode="auto">
              <a:xfrm>
                <a:off x="1168705"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0" name="Rectangle 117"/>
              <p:cNvSpPr>
                <a:spLocks noChangeArrowheads="1"/>
              </p:cNvSpPr>
              <p:nvPr/>
            </p:nvSpPr>
            <p:spPr bwMode="auto">
              <a:xfrm>
                <a:off x="1231579"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421" name="Oval 118"/>
              <p:cNvSpPr>
                <a:spLocks noChangeArrowheads="1"/>
              </p:cNvSpPr>
              <p:nvPr/>
            </p:nvSpPr>
            <p:spPr bwMode="auto">
              <a:xfrm>
                <a:off x="1803732" y="4975333"/>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grpSp>
        <p:grpSp>
          <p:nvGrpSpPr>
            <p:cNvPr id="323" name="Group 322"/>
            <p:cNvGrpSpPr/>
            <p:nvPr/>
          </p:nvGrpSpPr>
          <p:grpSpPr>
            <a:xfrm>
              <a:off x="2929674" y="3863018"/>
              <a:ext cx="832101" cy="1624194"/>
              <a:chOff x="810323" y="3007385"/>
              <a:chExt cx="1226042" cy="2393136"/>
            </a:xfrm>
          </p:grpSpPr>
          <p:sp>
            <p:nvSpPr>
              <p:cNvPr id="324" name="Rectangle 70"/>
              <p:cNvSpPr>
                <a:spLocks noChangeArrowheads="1"/>
              </p:cNvSpPr>
              <p:nvPr/>
            </p:nvSpPr>
            <p:spPr bwMode="auto">
              <a:xfrm>
                <a:off x="810323" y="3007385"/>
                <a:ext cx="1226042" cy="239313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25" name="Rectangle 71"/>
              <p:cNvSpPr>
                <a:spLocks noChangeArrowheads="1"/>
              </p:cNvSpPr>
              <p:nvPr/>
            </p:nvSpPr>
            <p:spPr bwMode="auto">
              <a:xfrm>
                <a:off x="882629" y="3085975"/>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26" name="Rectangle 72"/>
              <p:cNvSpPr>
                <a:spLocks noChangeArrowheads="1"/>
              </p:cNvSpPr>
              <p:nvPr/>
            </p:nvSpPr>
            <p:spPr bwMode="auto">
              <a:xfrm>
                <a:off x="92349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27" name="Rectangle 73"/>
              <p:cNvSpPr>
                <a:spLocks noChangeArrowheads="1"/>
              </p:cNvSpPr>
              <p:nvPr/>
            </p:nvSpPr>
            <p:spPr bwMode="auto">
              <a:xfrm>
                <a:off x="986370" y="3136274"/>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28" name="Rectangle 74"/>
              <p:cNvSpPr>
                <a:spLocks noChangeArrowheads="1"/>
              </p:cNvSpPr>
              <p:nvPr/>
            </p:nvSpPr>
            <p:spPr bwMode="auto">
              <a:xfrm>
                <a:off x="1046102"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29" name="Rectangle 75"/>
              <p:cNvSpPr>
                <a:spLocks noChangeArrowheads="1"/>
              </p:cNvSpPr>
              <p:nvPr/>
            </p:nvSpPr>
            <p:spPr bwMode="auto">
              <a:xfrm>
                <a:off x="1108976"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0" name="Rectangle 76"/>
              <p:cNvSpPr>
                <a:spLocks noChangeArrowheads="1"/>
              </p:cNvSpPr>
              <p:nvPr/>
            </p:nvSpPr>
            <p:spPr bwMode="auto">
              <a:xfrm>
                <a:off x="1168705"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1" name="Rectangle 77"/>
              <p:cNvSpPr>
                <a:spLocks noChangeArrowheads="1"/>
              </p:cNvSpPr>
              <p:nvPr/>
            </p:nvSpPr>
            <p:spPr bwMode="auto">
              <a:xfrm>
                <a:off x="1231579" y="3136274"/>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2" name="Oval 78"/>
              <p:cNvSpPr>
                <a:spLocks noChangeArrowheads="1"/>
              </p:cNvSpPr>
              <p:nvPr/>
            </p:nvSpPr>
            <p:spPr bwMode="auto">
              <a:xfrm>
                <a:off x="1803732" y="3192860"/>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3" name="Rectangle 79"/>
              <p:cNvSpPr>
                <a:spLocks noChangeArrowheads="1"/>
              </p:cNvSpPr>
              <p:nvPr/>
            </p:nvSpPr>
            <p:spPr bwMode="auto">
              <a:xfrm>
                <a:off x="882629" y="3444355"/>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4" name="Rectangle 80"/>
              <p:cNvSpPr>
                <a:spLocks noChangeArrowheads="1"/>
              </p:cNvSpPr>
              <p:nvPr/>
            </p:nvSpPr>
            <p:spPr bwMode="auto">
              <a:xfrm>
                <a:off x="92349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5" name="Rectangle 81"/>
              <p:cNvSpPr>
                <a:spLocks noChangeArrowheads="1"/>
              </p:cNvSpPr>
              <p:nvPr/>
            </p:nvSpPr>
            <p:spPr bwMode="auto">
              <a:xfrm>
                <a:off x="986370" y="3491512"/>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6" name="Rectangle 82"/>
              <p:cNvSpPr>
                <a:spLocks noChangeArrowheads="1"/>
              </p:cNvSpPr>
              <p:nvPr/>
            </p:nvSpPr>
            <p:spPr bwMode="auto">
              <a:xfrm>
                <a:off x="1046102"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7" name="Rectangle 83"/>
              <p:cNvSpPr>
                <a:spLocks noChangeArrowheads="1"/>
              </p:cNvSpPr>
              <p:nvPr/>
            </p:nvSpPr>
            <p:spPr bwMode="auto">
              <a:xfrm>
                <a:off x="1108976"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8" name="Rectangle 84"/>
              <p:cNvSpPr>
                <a:spLocks noChangeArrowheads="1"/>
              </p:cNvSpPr>
              <p:nvPr/>
            </p:nvSpPr>
            <p:spPr bwMode="auto">
              <a:xfrm>
                <a:off x="1168705"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39" name="Rectangle 85"/>
              <p:cNvSpPr>
                <a:spLocks noChangeArrowheads="1"/>
              </p:cNvSpPr>
              <p:nvPr/>
            </p:nvSpPr>
            <p:spPr bwMode="auto">
              <a:xfrm>
                <a:off x="1231579" y="3491512"/>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0" name="Oval 86"/>
              <p:cNvSpPr>
                <a:spLocks noChangeArrowheads="1"/>
              </p:cNvSpPr>
              <p:nvPr/>
            </p:nvSpPr>
            <p:spPr bwMode="auto">
              <a:xfrm>
                <a:off x="1803732" y="3548098"/>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1" name="Rectangle 87"/>
              <p:cNvSpPr>
                <a:spLocks noChangeArrowheads="1"/>
              </p:cNvSpPr>
              <p:nvPr/>
            </p:nvSpPr>
            <p:spPr bwMode="auto">
              <a:xfrm>
                <a:off x="882629" y="3799593"/>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2" name="Rectangle 88"/>
              <p:cNvSpPr>
                <a:spLocks noChangeArrowheads="1"/>
              </p:cNvSpPr>
              <p:nvPr/>
            </p:nvSpPr>
            <p:spPr bwMode="auto">
              <a:xfrm>
                <a:off x="92349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3" name="Rectangle 89"/>
              <p:cNvSpPr>
                <a:spLocks noChangeArrowheads="1"/>
              </p:cNvSpPr>
              <p:nvPr/>
            </p:nvSpPr>
            <p:spPr bwMode="auto">
              <a:xfrm>
                <a:off x="986370" y="384674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4" name="Rectangle 90"/>
              <p:cNvSpPr>
                <a:spLocks noChangeArrowheads="1"/>
              </p:cNvSpPr>
              <p:nvPr/>
            </p:nvSpPr>
            <p:spPr bwMode="auto">
              <a:xfrm>
                <a:off x="1046102"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5" name="Rectangle 91"/>
              <p:cNvSpPr>
                <a:spLocks noChangeArrowheads="1"/>
              </p:cNvSpPr>
              <p:nvPr/>
            </p:nvSpPr>
            <p:spPr bwMode="auto">
              <a:xfrm>
                <a:off x="1108976"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6" name="Rectangle 92"/>
              <p:cNvSpPr>
                <a:spLocks noChangeArrowheads="1"/>
              </p:cNvSpPr>
              <p:nvPr/>
            </p:nvSpPr>
            <p:spPr bwMode="auto">
              <a:xfrm>
                <a:off x="1168705"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7" name="Rectangle 93"/>
              <p:cNvSpPr>
                <a:spLocks noChangeArrowheads="1"/>
              </p:cNvSpPr>
              <p:nvPr/>
            </p:nvSpPr>
            <p:spPr bwMode="auto">
              <a:xfrm>
                <a:off x="1231579" y="384674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8" name="Oval 94"/>
              <p:cNvSpPr>
                <a:spLocks noChangeArrowheads="1"/>
              </p:cNvSpPr>
              <p:nvPr/>
            </p:nvSpPr>
            <p:spPr bwMode="auto">
              <a:xfrm>
                <a:off x="1803732" y="3906479"/>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49" name="Rectangle 95"/>
              <p:cNvSpPr>
                <a:spLocks noChangeArrowheads="1"/>
              </p:cNvSpPr>
              <p:nvPr/>
            </p:nvSpPr>
            <p:spPr bwMode="auto">
              <a:xfrm>
                <a:off x="882629" y="4154829"/>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0" name="Rectangle 96"/>
              <p:cNvSpPr>
                <a:spLocks noChangeArrowheads="1"/>
              </p:cNvSpPr>
              <p:nvPr/>
            </p:nvSpPr>
            <p:spPr bwMode="auto">
              <a:xfrm>
                <a:off x="92349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1" name="Rectangle 97"/>
              <p:cNvSpPr>
                <a:spLocks noChangeArrowheads="1"/>
              </p:cNvSpPr>
              <p:nvPr/>
            </p:nvSpPr>
            <p:spPr bwMode="auto">
              <a:xfrm>
                <a:off x="986370" y="4205128"/>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2" name="Rectangle 98"/>
              <p:cNvSpPr>
                <a:spLocks noChangeArrowheads="1"/>
              </p:cNvSpPr>
              <p:nvPr/>
            </p:nvSpPr>
            <p:spPr bwMode="auto">
              <a:xfrm>
                <a:off x="1046102"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3" name="Rectangle 99"/>
              <p:cNvSpPr>
                <a:spLocks noChangeArrowheads="1"/>
              </p:cNvSpPr>
              <p:nvPr/>
            </p:nvSpPr>
            <p:spPr bwMode="auto">
              <a:xfrm>
                <a:off x="1108976"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4" name="Rectangle 100"/>
              <p:cNvSpPr>
                <a:spLocks noChangeArrowheads="1"/>
              </p:cNvSpPr>
              <p:nvPr/>
            </p:nvSpPr>
            <p:spPr bwMode="auto">
              <a:xfrm>
                <a:off x="1168705"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5" name="Rectangle 101"/>
              <p:cNvSpPr>
                <a:spLocks noChangeArrowheads="1"/>
              </p:cNvSpPr>
              <p:nvPr/>
            </p:nvSpPr>
            <p:spPr bwMode="auto">
              <a:xfrm>
                <a:off x="1231579" y="4205128"/>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6" name="Oval 102"/>
              <p:cNvSpPr>
                <a:spLocks noChangeArrowheads="1"/>
              </p:cNvSpPr>
              <p:nvPr/>
            </p:nvSpPr>
            <p:spPr bwMode="auto">
              <a:xfrm>
                <a:off x="1803732" y="4261714"/>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7" name="Rectangle 103"/>
              <p:cNvSpPr>
                <a:spLocks noChangeArrowheads="1"/>
              </p:cNvSpPr>
              <p:nvPr/>
            </p:nvSpPr>
            <p:spPr bwMode="auto">
              <a:xfrm>
                <a:off x="882629" y="4513210"/>
                <a:ext cx="1084576" cy="2797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8" name="Rectangle 104"/>
              <p:cNvSpPr>
                <a:spLocks noChangeArrowheads="1"/>
              </p:cNvSpPr>
              <p:nvPr/>
            </p:nvSpPr>
            <p:spPr bwMode="auto">
              <a:xfrm>
                <a:off x="92349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59" name="Rectangle 105"/>
              <p:cNvSpPr>
                <a:spLocks noChangeArrowheads="1"/>
              </p:cNvSpPr>
              <p:nvPr/>
            </p:nvSpPr>
            <p:spPr bwMode="auto">
              <a:xfrm>
                <a:off x="986370" y="4560366"/>
                <a:ext cx="28294"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0" name="Rectangle 106"/>
              <p:cNvSpPr>
                <a:spLocks noChangeArrowheads="1"/>
              </p:cNvSpPr>
              <p:nvPr/>
            </p:nvSpPr>
            <p:spPr bwMode="auto">
              <a:xfrm>
                <a:off x="1046102"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1" name="Rectangle 107"/>
              <p:cNvSpPr>
                <a:spLocks noChangeArrowheads="1"/>
              </p:cNvSpPr>
              <p:nvPr/>
            </p:nvSpPr>
            <p:spPr bwMode="auto">
              <a:xfrm>
                <a:off x="1108976"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2" name="Rectangle 108"/>
              <p:cNvSpPr>
                <a:spLocks noChangeArrowheads="1"/>
              </p:cNvSpPr>
              <p:nvPr/>
            </p:nvSpPr>
            <p:spPr bwMode="auto">
              <a:xfrm>
                <a:off x="1168705"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3" name="Rectangle 109"/>
              <p:cNvSpPr>
                <a:spLocks noChangeArrowheads="1"/>
              </p:cNvSpPr>
              <p:nvPr/>
            </p:nvSpPr>
            <p:spPr bwMode="auto">
              <a:xfrm>
                <a:off x="1231579" y="4560366"/>
                <a:ext cx="31437" cy="18547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4" name="Oval 110"/>
              <p:cNvSpPr>
                <a:spLocks noChangeArrowheads="1"/>
              </p:cNvSpPr>
              <p:nvPr/>
            </p:nvSpPr>
            <p:spPr bwMode="auto">
              <a:xfrm>
                <a:off x="1803732" y="4616952"/>
                <a:ext cx="69161" cy="72306"/>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5" name="Rectangle 111"/>
              <p:cNvSpPr>
                <a:spLocks noChangeArrowheads="1"/>
              </p:cNvSpPr>
              <p:nvPr/>
            </p:nvSpPr>
            <p:spPr bwMode="auto">
              <a:xfrm>
                <a:off x="882629" y="4868447"/>
                <a:ext cx="1084576" cy="2829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6" name="Rectangle 112"/>
              <p:cNvSpPr>
                <a:spLocks noChangeArrowheads="1"/>
              </p:cNvSpPr>
              <p:nvPr/>
            </p:nvSpPr>
            <p:spPr bwMode="auto">
              <a:xfrm>
                <a:off x="92349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7" name="Rectangle 113"/>
              <p:cNvSpPr>
                <a:spLocks noChangeArrowheads="1"/>
              </p:cNvSpPr>
              <p:nvPr/>
            </p:nvSpPr>
            <p:spPr bwMode="auto">
              <a:xfrm>
                <a:off x="986370" y="4918746"/>
                <a:ext cx="28294"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8" name="Rectangle 114"/>
              <p:cNvSpPr>
                <a:spLocks noChangeArrowheads="1"/>
              </p:cNvSpPr>
              <p:nvPr/>
            </p:nvSpPr>
            <p:spPr bwMode="auto">
              <a:xfrm>
                <a:off x="1046102"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69" name="Rectangle 115"/>
              <p:cNvSpPr>
                <a:spLocks noChangeArrowheads="1"/>
              </p:cNvSpPr>
              <p:nvPr/>
            </p:nvSpPr>
            <p:spPr bwMode="auto">
              <a:xfrm>
                <a:off x="1108976"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0" name="Rectangle 116"/>
              <p:cNvSpPr>
                <a:spLocks noChangeArrowheads="1"/>
              </p:cNvSpPr>
              <p:nvPr/>
            </p:nvSpPr>
            <p:spPr bwMode="auto">
              <a:xfrm>
                <a:off x="1168705"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1" name="Rectangle 117"/>
              <p:cNvSpPr>
                <a:spLocks noChangeArrowheads="1"/>
              </p:cNvSpPr>
              <p:nvPr/>
            </p:nvSpPr>
            <p:spPr bwMode="auto">
              <a:xfrm>
                <a:off x="1231579" y="4918746"/>
                <a:ext cx="31437" cy="182334"/>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sp>
            <p:nvSpPr>
              <p:cNvPr id="372" name="Oval 118"/>
              <p:cNvSpPr>
                <a:spLocks noChangeArrowheads="1"/>
              </p:cNvSpPr>
              <p:nvPr/>
            </p:nvSpPr>
            <p:spPr bwMode="auto">
              <a:xfrm>
                <a:off x="1803732" y="4975333"/>
                <a:ext cx="69161" cy="69161"/>
              </a:xfrm>
              <a:prstGeom prst="ellipse">
                <a:avLst/>
              </a:pr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1684"/>
                <a:endParaRPr lang="en-IN">
                  <a:solidFill>
                    <a:srgbClr val="000000"/>
                  </a:solidFill>
                </a:endParaRPr>
              </a:p>
            </p:txBody>
          </p:sp>
        </p:grpSp>
      </p:grpSp>
    </p:spTree>
    <p:extLst>
      <p:ext uri="{BB962C8B-B14F-4D97-AF65-F5344CB8AC3E}">
        <p14:creationId xmlns:p14="http://schemas.microsoft.com/office/powerpoint/2010/main" val="427443399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9610" y="1495010"/>
            <a:ext cx="3410154" cy="3352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82854" rIns="182854" bIns="45713" numCol="1" spcCol="0" rtlCol="0" fromWordArt="0" anchor="t" anchorCtr="0" forceAA="0" compatLnSpc="1">
            <a:prstTxWarp prst="textNoShape">
              <a:avLst/>
            </a:prstTxWarp>
            <a:noAutofit/>
          </a:bodyPr>
          <a:lstStyle/>
          <a:p>
            <a:pPr algn="r" defTabSz="931954" fontAlgn="base">
              <a:spcBef>
                <a:spcPct val="0"/>
              </a:spcBef>
              <a:spcAft>
                <a:spcPct val="0"/>
              </a:spcAft>
            </a:pPr>
            <a:endParaRPr lang="en-US" sz="200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7" name="Title 2"/>
          <p:cNvSpPr>
            <a:spLocks noGrp="1"/>
          </p:cNvSpPr>
          <p:nvPr>
            <p:ph type="title"/>
          </p:nvPr>
        </p:nvSpPr>
        <p:spPr/>
        <p:txBody>
          <a:bodyPr/>
          <a:lstStyle/>
          <a:p>
            <a:pPr lvl="0"/>
            <a:r>
              <a:rPr lang="en-US" dirty="0"/>
              <a:t>SQL Server 2016</a:t>
            </a:r>
            <a:r>
              <a:rPr lang="en-US" dirty="0" smtClean="0"/>
              <a:t/>
            </a:r>
            <a:br>
              <a:rPr lang="en-US" dirty="0" smtClean="0"/>
            </a:br>
            <a:endParaRPr lang="en-US" dirty="0"/>
          </a:p>
        </p:txBody>
      </p:sp>
      <p:sp>
        <p:nvSpPr>
          <p:cNvPr id="10" name="Text Placeholder 9"/>
          <p:cNvSpPr>
            <a:spLocks noGrp="1"/>
          </p:cNvSpPr>
          <p:nvPr>
            <p:ph type="body" sz="quarter" idx="11"/>
          </p:nvPr>
        </p:nvSpPr>
        <p:spPr/>
        <p:txBody>
          <a:bodyPr/>
          <a:lstStyle/>
          <a:p>
            <a:pPr lvl="0"/>
            <a:r>
              <a:rPr lang="en-US" smtClean="0"/>
              <a:t>Reporting Services</a:t>
            </a:r>
          </a:p>
          <a:p>
            <a:endParaRPr lang="en-US" dirty="0"/>
          </a:p>
        </p:txBody>
      </p:sp>
      <p:sp>
        <p:nvSpPr>
          <p:cNvPr id="4" name="Text Placeholder 3"/>
          <p:cNvSpPr>
            <a:spLocks noGrp="1"/>
          </p:cNvSpPr>
          <p:nvPr>
            <p:ph type="body" sz="quarter" idx="12"/>
          </p:nvPr>
        </p:nvSpPr>
        <p:spPr>
          <a:xfrm>
            <a:off x="274638" y="1820862"/>
            <a:ext cx="5486400" cy="2619179"/>
          </a:xfrm>
        </p:spPr>
        <p:txBody>
          <a:bodyPr/>
          <a:lstStyle/>
          <a:p>
            <a:r>
              <a:rPr lang="en-US" sz="3600" dirty="0" smtClean="0"/>
              <a:t>Run in modern browsers </a:t>
            </a:r>
          </a:p>
          <a:p>
            <a:r>
              <a:rPr lang="en-US" sz="3600" dirty="0" smtClean="0"/>
              <a:t>Improved parameters</a:t>
            </a:r>
          </a:p>
          <a:p>
            <a:r>
              <a:rPr lang="en-US" sz="3600" dirty="0" smtClean="0"/>
              <a:t>Modern themes</a:t>
            </a:r>
          </a:p>
          <a:p>
            <a:r>
              <a:rPr lang="en-US" sz="3600" dirty="0" smtClean="0"/>
              <a:t>New chart types</a:t>
            </a:r>
            <a:endParaRPr lang="en-US" sz="3600" dirty="0"/>
          </a:p>
        </p:txBody>
      </p:sp>
      <p:sp>
        <p:nvSpPr>
          <p:cNvPr id="31" name="Freeform 30"/>
          <p:cNvSpPr>
            <a:spLocks noChangeAspect="1" noEditPoints="1"/>
          </p:cNvSpPr>
          <p:nvPr/>
        </p:nvSpPr>
        <p:spPr bwMode="black">
          <a:xfrm>
            <a:off x="20506884" y="4496594"/>
            <a:ext cx="119096" cy="118612"/>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32" name="Right Triangle 31"/>
          <p:cNvSpPr/>
          <p:nvPr/>
        </p:nvSpPr>
        <p:spPr bwMode="auto">
          <a:xfrm rot="10800000">
            <a:off x="15903364" y="2765750"/>
            <a:ext cx="4753354" cy="3580300"/>
          </a:xfrm>
          <a:prstGeom prst="rtTriangle">
            <a:avLst/>
          </a:prstGeom>
          <a:solidFill>
            <a:schemeClr val="tx1">
              <a:alpha val="2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9" name="Freeform 8"/>
          <p:cNvSpPr/>
          <p:nvPr/>
        </p:nvSpPr>
        <p:spPr bwMode="auto">
          <a:xfrm flipH="1">
            <a:off x="9308758" y="2528508"/>
            <a:ext cx="1422214" cy="2980412"/>
          </a:xfrm>
          <a:custGeom>
            <a:avLst/>
            <a:gdLst>
              <a:gd name="connsiteX0" fmla="*/ 307903 w 1539601"/>
              <a:gd name="connsiteY0" fmla="*/ 683058 h 3226406"/>
              <a:gd name="connsiteX1" fmla="*/ 65607 w 1539601"/>
              <a:gd name="connsiteY1" fmla="*/ 854935 h 3226406"/>
              <a:gd name="connsiteX2" fmla="*/ 23353 w 1539601"/>
              <a:gd name="connsiteY2" fmla="*/ 2173173 h 3226406"/>
              <a:gd name="connsiteX3" fmla="*/ 183916 w 1539601"/>
              <a:gd name="connsiteY3" fmla="*/ 2395849 h 3226406"/>
              <a:gd name="connsiteX4" fmla="*/ 188837 w 1539601"/>
              <a:gd name="connsiteY4" fmla="*/ 2395940 h 3226406"/>
              <a:gd name="connsiteX5" fmla="*/ 193527 w 1539601"/>
              <a:gd name="connsiteY5" fmla="*/ 2399102 h 3226406"/>
              <a:gd name="connsiteX6" fmla="*/ 226167 w 1539601"/>
              <a:gd name="connsiteY6" fmla="*/ 2405692 h 3226406"/>
              <a:gd name="connsiteX7" fmla="*/ 777891 w 1539601"/>
              <a:gd name="connsiteY7" fmla="*/ 2405692 h 3226406"/>
              <a:gd name="connsiteX8" fmla="*/ 777891 w 1539601"/>
              <a:gd name="connsiteY8" fmla="*/ 3084791 h 3226406"/>
              <a:gd name="connsiteX9" fmla="*/ 919506 w 1539601"/>
              <a:gd name="connsiteY9" fmla="*/ 3226406 h 3226406"/>
              <a:gd name="connsiteX10" fmla="*/ 1061121 w 1539601"/>
              <a:gd name="connsiteY10" fmla="*/ 3084791 h 3226406"/>
              <a:gd name="connsiteX11" fmla="*/ 1061121 w 1539601"/>
              <a:gd name="connsiteY11" fmla="*/ 2140495 h 3226406"/>
              <a:gd name="connsiteX12" fmla="*/ 974629 w 1539601"/>
              <a:gd name="connsiteY12" fmla="*/ 2010009 h 3226406"/>
              <a:gd name="connsiteX13" fmla="*/ 956155 w 1539601"/>
              <a:gd name="connsiteY13" fmla="*/ 2006279 h 3226406"/>
              <a:gd name="connsiteX14" fmla="*/ 953986 w 1539601"/>
              <a:gd name="connsiteY14" fmla="*/ 2004817 h 3226406"/>
              <a:gd name="connsiteX15" fmla="*/ 921346 w 1539601"/>
              <a:gd name="connsiteY15" fmla="*/ 1998227 h 3226406"/>
              <a:gd name="connsiteX16" fmla="*/ 642562 w 1539601"/>
              <a:gd name="connsiteY16" fmla="*/ 1998227 h 3226406"/>
              <a:gd name="connsiteX17" fmla="*/ 521942 w 1539601"/>
              <a:gd name="connsiteY17" fmla="*/ 1968313 h 3226406"/>
              <a:gd name="connsiteX18" fmla="*/ 555745 w 1539601"/>
              <a:gd name="connsiteY18" fmla="*/ 1567496 h 3226406"/>
              <a:gd name="connsiteX19" fmla="*/ 581096 w 1539601"/>
              <a:gd name="connsiteY19" fmla="*/ 1380450 h 3226406"/>
              <a:gd name="connsiteX20" fmla="*/ 741659 w 1539601"/>
              <a:gd name="connsiteY20" fmla="*/ 1576404 h 3226406"/>
              <a:gd name="connsiteX21" fmla="*/ 1443062 w 1539601"/>
              <a:gd name="connsiteY21" fmla="*/ 1576404 h 3226406"/>
              <a:gd name="connsiteX22" fmla="*/ 1400810 w 1539601"/>
              <a:gd name="connsiteY22" fmla="*/ 1255752 h 3226406"/>
              <a:gd name="connsiteX23" fmla="*/ 885319 w 1539601"/>
              <a:gd name="connsiteY23" fmla="*/ 1264658 h 3226406"/>
              <a:gd name="connsiteX24" fmla="*/ 462787 w 1539601"/>
              <a:gd name="connsiteY24" fmla="*/ 730237 h 3226406"/>
              <a:gd name="connsiteX25" fmla="*/ 307903 w 1539601"/>
              <a:gd name="connsiteY25" fmla="*/ 683058 h 3226406"/>
              <a:gd name="connsiteX26" fmla="*/ 310674 w 1539601"/>
              <a:gd name="connsiteY26" fmla="*/ 0 h 3226406"/>
              <a:gd name="connsiteX27" fmla="*/ 0 w 1539601"/>
              <a:gd name="connsiteY27" fmla="*/ 327451 h 3226406"/>
              <a:gd name="connsiteX28" fmla="*/ 310674 w 1539601"/>
              <a:gd name="connsiteY28" fmla="*/ 654902 h 3226406"/>
              <a:gd name="connsiteX29" fmla="*/ 621348 w 1539601"/>
              <a:gd name="connsiteY29" fmla="*/ 327451 h 3226406"/>
              <a:gd name="connsiteX30" fmla="*/ 310674 w 1539601"/>
              <a:gd name="connsiteY30" fmla="*/ 0 h 3226406"/>
              <a:gd name="connsiteX0" fmla="*/ 307903 w 1539601"/>
              <a:gd name="connsiteY0" fmla="*/ 683058 h 3226406"/>
              <a:gd name="connsiteX1" fmla="*/ 65607 w 1539601"/>
              <a:gd name="connsiteY1" fmla="*/ 854935 h 3226406"/>
              <a:gd name="connsiteX2" fmla="*/ 23353 w 1539601"/>
              <a:gd name="connsiteY2" fmla="*/ 2173173 h 3226406"/>
              <a:gd name="connsiteX3" fmla="*/ 183916 w 1539601"/>
              <a:gd name="connsiteY3" fmla="*/ 2395849 h 3226406"/>
              <a:gd name="connsiteX4" fmla="*/ 188837 w 1539601"/>
              <a:gd name="connsiteY4" fmla="*/ 2395940 h 3226406"/>
              <a:gd name="connsiteX5" fmla="*/ 193527 w 1539601"/>
              <a:gd name="connsiteY5" fmla="*/ 2399102 h 3226406"/>
              <a:gd name="connsiteX6" fmla="*/ 226167 w 1539601"/>
              <a:gd name="connsiteY6" fmla="*/ 2405692 h 3226406"/>
              <a:gd name="connsiteX7" fmla="*/ 777891 w 1539601"/>
              <a:gd name="connsiteY7" fmla="*/ 2405692 h 3226406"/>
              <a:gd name="connsiteX8" fmla="*/ 777891 w 1539601"/>
              <a:gd name="connsiteY8" fmla="*/ 3084791 h 3226406"/>
              <a:gd name="connsiteX9" fmla="*/ 919506 w 1539601"/>
              <a:gd name="connsiteY9" fmla="*/ 3226406 h 3226406"/>
              <a:gd name="connsiteX10" fmla="*/ 1061121 w 1539601"/>
              <a:gd name="connsiteY10" fmla="*/ 3084791 h 3226406"/>
              <a:gd name="connsiteX11" fmla="*/ 1061121 w 1539601"/>
              <a:gd name="connsiteY11" fmla="*/ 2140495 h 3226406"/>
              <a:gd name="connsiteX12" fmla="*/ 974629 w 1539601"/>
              <a:gd name="connsiteY12" fmla="*/ 2010009 h 3226406"/>
              <a:gd name="connsiteX13" fmla="*/ 956155 w 1539601"/>
              <a:gd name="connsiteY13" fmla="*/ 2006279 h 3226406"/>
              <a:gd name="connsiteX14" fmla="*/ 953986 w 1539601"/>
              <a:gd name="connsiteY14" fmla="*/ 2004817 h 3226406"/>
              <a:gd name="connsiteX15" fmla="*/ 921346 w 1539601"/>
              <a:gd name="connsiteY15" fmla="*/ 1998227 h 3226406"/>
              <a:gd name="connsiteX16" fmla="*/ 642562 w 1539601"/>
              <a:gd name="connsiteY16" fmla="*/ 1998227 h 3226406"/>
              <a:gd name="connsiteX17" fmla="*/ 521942 w 1539601"/>
              <a:gd name="connsiteY17" fmla="*/ 1968313 h 3226406"/>
              <a:gd name="connsiteX18" fmla="*/ 555745 w 1539601"/>
              <a:gd name="connsiteY18" fmla="*/ 1567496 h 3226406"/>
              <a:gd name="connsiteX19" fmla="*/ 581096 w 1539601"/>
              <a:gd name="connsiteY19" fmla="*/ 1380450 h 3226406"/>
              <a:gd name="connsiteX20" fmla="*/ 741659 w 1539601"/>
              <a:gd name="connsiteY20" fmla="*/ 1576404 h 3226406"/>
              <a:gd name="connsiteX21" fmla="*/ 1443062 w 1539601"/>
              <a:gd name="connsiteY21" fmla="*/ 1576404 h 3226406"/>
              <a:gd name="connsiteX22" fmla="*/ 1400810 w 1539601"/>
              <a:gd name="connsiteY22" fmla="*/ 1342911 h 3226406"/>
              <a:gd name="connsiteX23" fmla="*/ 885319 w 1539601"/>
              <a:gd name="connsiteY23" fmla="*/ 1264658 h 3226406"/>
              <a:gd name="connsiteX24" fmla="*/ 462787 w 1539601"/>
              <a:gd name="connsiteY24" fmla="*/ 730237 h 3226406"/>
              <a:gd name="connsiteX25" fmla="*/ 307903 w 1539601"/>
              <a:gd name="connsiteY25" fmla="*/ 683058 h 3226406"/>
              <a:gd name="connsiteX26" fmla="*/ 310674 w 1539601"/>
              <a:gd name="connsiteY26" fmla="*/ 0 h 3226406"/>
              <a:gd name="connsiteX27" fmla="*/ 0 w 1539601"/>
              <a:gd name="connsiteY27" fmla="*/ 327451 h 3226406"/>
              <a:gd name="connsiteX28" fmla="*/ 310674 w 1539601"/>
              <a:gd name="connsiteY28" fmla="*/ 654902 h 3226406"/>
              <a:gd name="connsiteX29" fmla="*/ 621348 w 1539601"/>
              <a:gd name="connsiteY29" fmla="*/ 327451 h 3226406"/>
              <a:gd name="connsiteX30" fmla="*/ 310674 w 1539601"/>
              <a:gd name="connsiteY30" fmla="*/ 0 h 3226406"/>
              <a:gd name="connsiteX0" fmla="*/ 307903 w 1539601"/>
              <a:gd name="connsiteY0" fmla="*/ 683058 h 3226406"/>
              <a:gd name="connsiteX1" fmla="*/ 65607 w 1539601"/>
              <a:gd name="connsiteY1" fmla="*/ 854935 h 3226406"/>
              <a:gd name="connsiteX2" fmla="*/ 23353 w 1539601"/>
              <a:gd name="connsiteY2" fmla="*/ 2173173 h 3226406"/>
              <a:gd name="connsiteX3" fmla="*/ 183916 w 1539601"/>
              <a:gd name="connsiteY3" fmla="*/ 2395849 h 3226406"/>
              <a:gd name="connsiteX4" fmla="*/ 188837 w 1539601"/>
              <a:gd name="connsiteY4" fmla="*/ 2395940 h 3226406"/>
              <a:gd name="connsiteX5" fmla="*/ 193527 w 1539601"/>
              <a:gd name="connsiteY5" fmla="*/ 2399102 h 3226406"/>
              <a:gd name="connsiteX6" fmla="*/ 226167 w 1539601"/>
              <a:gd name="connsiteY6" fmla="*/ 2405692 h 3226406"/>
              <a:gd name="connsiteX7" fmla="*/ 777891 w 1539601"/>
              <a:gd name="connsiteY7" fmla="*/ 2405692 h 3226406"/>
              <a:gd name="connsiteX8" fmla="*/ 777891 w 1539601"/>
              <a:gd name="connsiteY8" fmla="*/ 3084791 h 3226406"/>
              <a:gd name="connsiteX9" fmla="*/ 919506 w 1539601"/>
              <a:gd name="connsiteY9" fmla="*/ 3226406 h 3226406"/>
              <a:gd name="connsiteX10" fmla="*/ 1061121 w 1539601"/>
              <a:gd name="connsiteY10" fmla="*/ 3084791 h 3226406"/>
              <a:gd name="connsiteX11" fmla="*/ 1061121 w 1539601"/>
              <a:gd name="connsiteY11" fmla="*/ 2140495 h 3226406"/>
              <a:gd name="connsiteX12" fmla="*/ 974629 w 1539601"/>
              <a:gd name="connsiteY12" fmla="*/ 2010009 h 3226406"/>
              <a:gd name="connsiteX13" fmla="*/ 956155 w 1539601"/>
              <a:gd name="connsiteY13" fmla="*/ 2006279 h 3226406"/>
              <a:gd name="connsiteX14" fmla="*/ 953986 w 1539601"/>
              <a:gd name="connsiteY14" fmla="*/ 2004817 h 3226406"/>
              <a:gd name="connsiteX15" fmla="*/ 921346 w 1539601"/>
              <a:gd name="connsiteY15" fmla="*/ 1998227 h 3226406"/>
              <a:gd name="connsiteX16" fmla="*/ 642562 w 1539601"/>
              <a:gd name="connsiteY16" fmla="*/ 1998227 h 3226406"/>
              <a:gd name="connsiteX17" fmla="*/ 521942 w 1539601"/>
              <a:gd name="connsiteY17" fmla="*/ 1968313 h 3226406"/>
              <a:gd name="connsiteX18" fmla="*/ 555745 w 1539601"/>
              <a:gd name="connsiteY18" fmla="*/ 1567496 h 3226406"/>
              <a:gd name="connsiteX19" fmla="*/ 581096 w 1539601"/>
              <a:gd name="connsiteY19" fmla="*/ 1380450 h 3226406"/>
              <a:gd name="connsiteX20" fmla="*/ 741659 w 1539601"/>
              <a:gd name="connsiteY20" fmla="*/ 1576404 h 3226406"/>
              <a:gd name="connsiteX21" fmla="*/ 1443062 w 1539601"/>
              <a:gd name="connsiteY21" fmla="*/ 1576404 h 3226406"/>
              <a:gd name="connsiteX22" fmla="*/ 1400810 w 1539601"/>
              <a:gd name="connsiteY22" fmla="*/ 1342911 h 3226406"/>
              <a:gd name="connsiteX23" fmla="*/ 879094 w 1539601"/>
              <a:gd name="connsiteY23" fmla="*/ 1351817 h 3226406"/>
              <a:gd name="connsiteX24" fmla="*/ 462787 w 1539601"/>
              <a:gd name="connsiteY24" fmla="*/ 730237 h 3226406"/>
              <a:gd name="connsiteX25" fmla="*/ 307903 w 1539601"/>
              <a:gd name="connsiteY25" fmla="*/ 683058 h 3226406"/>
              <a:gd name="connsiteX26" fmla="*/ 310674 w 1539601"/>
              <a:gd name="connsiteY26" fmla="*/ 0 h 3226406"/>
              <a:gd name="connsiteX27" fmla="*/ 0 w 1539601"/>
              <a:gd name="connsiteY27" fmla="*/ 327451 h 3226406"/>
              <a:gd name="connsiteX28" fmla="*/ 310674 w 1539601"/>
              <a:gd name="connsiteY28" fmla="*/ 654902 h 3226406"/>
              <a:gd name="connsiteX29" fmla="*/ 621348 w 1539601"/>
              <a:gd name="connsiteY29" fmla="*/ 327451 h 3226406"/>
              <a:gd name="connsiteX30" fmla="*/ 310674 w 1539601"/>
              <a:gd name="connsiteY30" fmla="*/ 0 h 3226406"/>
              <a:gd name="connsiteX0" fmla="*/ 307903 w 1539601"/>
              <a:gd name="connsiteY0" fmla="*/ 683058 h 3226406"/>
              <a:gd name="connsiteX1" fmla="*/ 65607 w 1539601"/>
              <a:gd name="connsiteY1" fmla="*/ 854935 h 3226406"/>
              <a:gd name="connsiteX2" fmla="*/ 23353 w 1539601"/>
              <a:gd name="connsiteY2" fmla="*/ 2173173 h 3226406"/>
              <a:gd name="connsiteX3" fmla="*/ 183916 w 1539601"/>
              <a:gd name="connsiteY3" fmla="*/ 2395849 h 3226406"/>
              <a:gd name="connsiteX4" fmla="*/ 188837 w 1539601"/>
              <a:gd name="connsiteY4" fmla="*/ 2395940 h 3226406"/>
              <a:gd name="connsiteX5" fmla="*/ 193527 w 1539601"/>
              <a:gd name="connsiteY5" fmla="*/ 2399102 h 3226406"/>
              <a:gd name="connsiteX6" fmla="*/ 226167 w 1539601"/>
              <a:gd name="connsiteY6" fmla="*/ 2405692 h 3226406"/>
              <a:gd name="connsiteX7" fmla="*/ 777891 w 1539601"/>
              <a:gd name="connsiteY7" fmla="*/ 2405692 h 3226406"/>
              <a:gd name="connsiteX8" fmla="*/ 777891 w 1539601"/>
              <a:gd name="connsiteY8" fmla="*/ 3084791 h 3226406"/>
              <a:gd name="connsiteX9" fmla="*/ 919506 w 1539601"/>
              <a:gd name="connsiteY9" fmla="*/ 3226406 h 3226406"/>
              <a:gd name="connsiteX10" fmla="*/ 1061121 w 1539601"/>
              <a:gd name="connsiteY10" fmla="*/ 3084791 h 3226406"/>
              <a:gd name="connsiteX11" fmla="*/ 1061121 w 1539601"/>
              <a:gd name="connsiteY11" fmla="*/ 2140495 h 3226406"/>
              <a:gd name="connsiteX12" fmla="*/ 974629 w 1539601"/>
              <a:gd name="connsiteY12" fmla="*/ 2010009 h 3226406"/>
              <a:gd name="connsiteX13" fmla="*/ 956155 w 1539601"/>
              <a:gd name="connsiteY13" fmla="*/ 2006279 h 3226406"/>
              <a:gd name="connsiteX14" fmla="*/ 953986 w 1539601"/>
              <a:gd name="connsiteY14" fmla="*/ 2004817 h 3226406"/>
              <a:gd name="connsiteX15" fmla="*/ 921346 w 1539601"/>
              <a:gd name="connsiteY15" fmla="*/ 1998227 h 3226406"/>
              <a:gd name="connsiteX16" fmla="*/ 642562 w 1539601"/>
              <a:gd name="connsiteY16" fmla="*/ 1998227 h 3226406"/>
              <a:gd name="connsiteX17" fmla="*/ 521942 w 1539601"/>
              <a:gd name="connsiteY17" fmla="*/ 1968313 h 3226406"/>
              <a:gd name="connsiteX18" fmla="*/ 555745 w 1539601"/>
              <a:gd name="connsiteY18" fmla="*/ 1567496 h 3226406"/>
              <a:gd name="connsiteX19" fmla="*/ 581096 w 1539601"/>
              <a:gd name="connsiteY19" fmla="*/ 1380450 h 3226406"/>
              <a:gd name="connsiteX20" fmla="*/ 741659 w 1539601"/>
              <a:gd name="connsiteY20" fmla="*/ 1576404 h 3226406"/>
              <a:gd name="connsiteX21" fmla="*/ 1443062 w 1539601"/>
              <a:gd name="connsiteY21" fmla="*/ 1576404 h 3226406"/>
              <a:gd name="connsiteX22" fmla="*/ 1400810 w 1539601"/>
              <a:gd name="connsiteY22" fmla="*/ 1367814 h 3226406"/>
              <a:gd name="connsiteX23" fmla="*/ 879094 w 1539601"/>
              <a:gd name="connsiteY23" fmla="*/ 1351817 h 3226406"/>
              <a:gd name="connsiteX24" fmla="*/ 462787 w 1539601"/>
              <a:gd name="connsiteY24" fmla="*/ 730237 h 3226406"/>
              <a:gd name="connsiteX25" fmla="*/ 307903 w 1539601"/>
              <a:gd name="connsiteY25" fmla="*/ 683058 h 3226406"/>
              <a:gd name="connsiteX26" fmla="*/ 310674 w 1539601"/>
              <a:gd name="connsiteY26" fmla="*/ 0 h 3226406"/>
              <a:gd name="connsiteX27" fmla="*/ 0 w 1539601"/>
              <a:gd name="connsiteY27" fmla="*/ 327451 h 3226406"/>
              <a:gd name="connsiteX28" fmla="*/ 310674 w 1539601"/>
              <a:gd name="connsiteY28" fmla="*/ 654902 h 3226406"/>
              <a:gd name="connsiteX29" fmla="*/ 621348 w 1539601"/>
              <a:gd name="connsiteY29" fmla="*/ 327451 h 3226406"/>
              <a:gd name="connsiteX30" fmla="*/ 310674 w 1539601"/>
              <a:gd name="connsiteY30" fmla="*/ 0 h 322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39601" h="3226406">
                <a:moveTo>
                  <a:pt x="307903" y="683058"/>
                </a:moveTo>
                <a:cubicBezTo>
                  <a:pt x="213933" y="677723"/>
                  <a:pt x="116663" y="717619"/>
                  <a:pt x="65607" y="854935"/>
                </a:cubicBezTo>
                <a:lnTo>
                  <a:pt x="23353" y="2173173"/>
                </a:lnTo>
                <a:cubicBezTo>
                  <a:pt x="51522" y="2256307"/>
                  <a:pt x="54338" y="2357251"/>
                  <a:pt x="183916" y="2395849"/>
                </a:cubicBezTo>
                <a:lnTo>
                  <a:pt x="188837" y="2395940"/>
                </a:lnTo>
                <a:lnTo>
                  <a:pt x="193527" y="2399102"/>
                </a:lnTo>
                <a:cubicBezTo>
                  <a:pt x="203559" y="2403345"/>
                  <a:pt x="214589" y="2405692"/>
                  <a:pt x="226167" y="2405692"/>
                </a:cubicBezTo>
                <a:lnTo>
                  <a:pt x="777891" y="2405692"/>
                </a:lnTo>
                <a:lnTo>
                  <a:pt x="777891" y="3084791"/>
                </a:lnTo>
                <a:cubicBezTo>
                  <a:pt x="777891" y="3163003"/>
                  <a:pt x="841294" y="3226406"/>
                  <a:pt x="919506" y="3226406"/>
                </a:cubicBezTo>
                <a:cubicBezTo>
                  <a:pt x="997718" y="3226406"/>
                  <a:pt x="1061121" y="3163003"/>
                  <a:pt x="1061121" y="3084791"/>
                </a:cubicBezTo>
                <a:lnTo>
                  <a:pt x="1061121" y="2140495"/>
                </a:lnTo>
                <a:cubicBezTo>
                  <a:pt x="1061121" y="2081836"/>
                  <a:pt x="1025457" y="2031507"/>
                  <a:pt x="974629" y="2010009"/>
                </a:cubicBezTo>
                <a:lnTo>
                  <a:pt x="956155" y="2006279"/>
                </a:lnTo>
                <a:lnTo>
                  <a:pt x="953986" y="2004817"/>
                </a:lnTo>
                <a:cubicBezTo>
                  <a:pt x="943954" y="2000574"/>
                  <a:pt x="932924" y="1998227"/>
                  <a:pt x="921346" y="1998227"/>
                </a:cubicBezTo>
                <a:lnTo>
                  <a:pt x="642562" y="1998227"/>
                </a:lnTo>
                <a:lnTo>
                  <a:pt x="521942" y="1968313"/>
                </a:lnTo>
                <a:lnTo>
                  <a:pt x="555745" y="1567496"/>
                </a:lnTo>
                <a:lnTo>
                  <a:pt x="581096" y="1380450"/>
                </a:lnTo>
                <a:lnTo>
                  <a:pt x="741659" y="1576404"/>
                </a:lnTo>
                <a:lnTo>
                  <a:pt x="1443062" y="1576404"/>
                </a:lnTo>
                <a:cubicBezTo>
                  <a:pt x="1496584" y="1531868"/>
                  <a:pt x="1651511" y="1501420"/>
                  <a:pt x="1400810" y="1367814"/>
                </a:cubicBezTo>
                <a:lnTo>
                  <a:pt x="879094" y="1351817"/>
                </a:lnTo>
                <a:lnTo>
                  <a:pt x="462787" y="730237"/>
                </a:lnTo>
                <a:cubicBezTo>
                  <a:pt x="419477" y="705743"/>
                  <a:pt x="364284" y="686259"/>
                  <a:pt x="307903" y="683058"/>
                </a:cubicBezTo>
                <a:close/>
                <a:moveTo>
                  <a:pt x="310674" y="0"/>
                </a:moveTo>
                <a:cubicBezTo>
                  <a:pt x="139093" y="0"/>
                  <a:pt x="0" y="146605"/>
                  <a:pt x="0" y="327451"/>
                </a:cubicBezTo>
                <a:cubicBezTo>
                  <a:pt x="0" y="508297"/>
                  <a:pt x="139093" y="654902"/>
                  <a:pt x="310674" y="654902"/>
                </a:cubicBezTo>
                <a:cubicBezTo>
                  <a:pt x="482255" y="654902"/>
                  <a:pt x="621348" y="508297"/>
                  <a:pt x="621348" y="327451"/>
                </a:cubicBezTo>
                <a:cubicBezTo>
                  <a:pt x="621348" y="146605"/>
                  <a:pt x="482255" y="0"/>
                  <a:pt x="31067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34" indent="-342834" algn="ctr" defTabSz="932293">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11" name="Rectangle 165"/>
          <p:cNvSpPr>
            <a:spLocks noChangeArrowheads="1"/>
          </p:cNvSpPr>
          <p:nvPr/>
        </p:nvSpPr>
        <p:spPr bwMode="auto">
          <a:xfrm>
            <a:off x="6785917" y="3854326"/>
            <a:ext cx="3919080" cy="246916"/>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12" name="Group 11"/>
          <p:cNvGrpSpPr/>
          <p:nvPr/>
        </p:nvGrpSpPr>
        <p:grpSpPr>
          <a:xfrm>
            <a:off x="9518284" y="3288089"/>
            <a:ext cx="1699705" cy="2632817"/>
            <a:chOff x="9711944" y="3996637"/>
            <a:chExt cx="1699705" cy="2632817"/>
          </a:xfrm>
        </p:grpSpPr>
        <p:sp>
          <p:nvSpPr>
            <p:cNvPr id="13" name="Freeform 222"/>
            <p:cNvSpPr>
              <a:spLocks/>
            </p:cNvSpPr>
            <p:nvPr/>
          </p:nvSpPr>
          <p:spPr bwMode="auto">
            <a:xfrm>
              <a:off x="10309137" y="5880091"/>
              <a:ext cx="229690" cy="422055"/>
            </a:xfrm>
            <a:custGeom>
              <a:avLst/>
              <a:gdLst>
                <a:gd name="T0" fmla="*/ 0 w 80"/>
                <a:gd name="T1" fmla="*/ 147 h 147"/>
                <a:gd name="T2" fmla="*/ 80 w 80"/>
                <a:gd name="T3" fmla="*/ 147 h 147"/>
                <a:gd name="T4" fmla="*/ 72 w 80"/>
                <a:gd name="T5" fmla="*/ 0 h 147"/>
                <a:gd name="T6" fmla="*/ 11 w 80"/>
                <a:gd name="T7" fmla="*/ 0 h 147"/>
                <a:gd name="T8" fmla="*/ 0 w 80"/>
                <a:gd name="T9" fmla="*/ 147 h 147"/>
              </a:gdLst>
              <a:ahLst/>
              <a:cxnLst>
                <a:cxn ang="0">
                  <a:pos x="T0" y="T1"/>
                </a:cxn>
                <a:cxn ang="0">
                  <a:pos x="T2" y="T3"/>
                </a:cxn>
                <a:cxn ang="0">
                  <a:pos x="T4" y="T5"/>
                </a:cxn>
                <a:cxn ang="0">
                  <a:pos x="T6" y="T7"/>
                </a:cxn>
                <a:cxn ang="0">
                  <a:pos x="T8" y="T9"/>
                </a:cxn>
              </a:cxnLst>
              <a:rect l="0" t="0" r="r" b="b"/>
              <a:pathLst>
                <a:path w="80" h="147">
                  <a:moveTo>
                    <a:pt x="0" y="147"/>
                  </a:moveTo>
                  <a:lnTo>
                    <a:pt x="80" y="147"/>
                  </a:lnTo>
                  <a:lnTo>
                    <a:pt x="72" y="0"/>
                  </a:lnTo>
                  <a:lnTo>
                    <a:pt x="11" y="0"/>
                  </a:lnTo>
                  <a:lnTo>
                    <a:pt x="0" y="14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223"/>
            <p:cNvSpPr>
              <a:spLocks/>
            </p:cNvSpPr>
            <p:nvPr/>
          </p:nvSpPr>
          <p:spPr bwMode="auto">
            <a:xfrm>
              <a:off x="10363689" y="5699210"/>
              <a:ext cx="120587" cy="180881"/>
            </a:xfrm>
            <a:custGeom>
              <a:avLst/>
              <a:gdLst>
                <a:gd name="T0" fmla="*/ 0 w 42"/>
                <a:gd name="T1" fmla="*/ 63 h 63"/>
                <a:gd name="T2" fmla="*/ 42 w 42"/>
                <a:gd name="T3" fmla="*/ 63 h 63"/>
                <a:gd name="T4" fmla="*/ 39 w 42"/>
                <a:gd name="T5" fmla="*/ 0 h 63"/>
                <a:gd name="T6" fmla="*/ 6 w 42"/>
                <a:gd name="T7" fmla="*/ 0 h 63"/>
                <a:gd name="T8" fmla="*/ 0 w 42"/>
                <a:gd name="T9" fmla="*/ 63 h 63"/>
              </a:gdLst>
              <a:ahLst/>
              <a:cxnLst>
                <a:cxn ang="0">
                  <a:pos x="T0" y="T1"/>
                </a:cxn>
                <a:cxn ang="0">
                  <a:pos x="T2" y="T3"/>
                </a:cxn>
                <a:cxn ang="0">
                  <a:pos x="T4" y="T5"/>
                </a:cxn>
                <a:cxn ang="0">
                  <a:pos x="T6" y="T7"/>
                </a:cxn>
                <a:cxn ang="0">
                  <a:pos x="T8" y="T9"/>
                </a:cxn>
              </a:cxnLst>
              <a:rect l="0" t="0" r="r" b="b"/>
              <a:pathLst>
                <a:path w="42" h="63">
                  <a:moveTo>
                    <a:pt x="0" y="63"/>
                  </a:moveTo>
                  <a:lnTo>
                    <a:pt x="42" y="63"/>
                  </a:lnTo>
                  <a:lnTo>
                    <a:pt x="39" y="0"/>
                  </a:lnTo>
                  <a:lnTo>
                    <a:pt x="6" y="0"/>
                  </a:lnTo>
                  <a:lnTo>
                    <a:pt x="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Oval 224"/>
            <p:cNvSpPr>
              <a:spLocks noChangeArrowheads="1"/>
            </p:cNvSpPr>
            <p:nvPr/>
          </p:nvSpPr>
          <p:spPr bwMode="auto">
            <a:xfrm>
              <a:off x="10894845" y="6373924"/>
              <a:ext cx="255531" cy="2555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Oval 225"/>
            <p:cNvSpPr>
              <a:spLocks noChangeArrowheads="1"/>
            </p:cNvSpPr>
            <p:nvPr/>
          </p:nvSpPr>
          <p:spPr bwMode="auto">
            <a:xfrm>
              <a:off x="9720558" y="6365309"/>
              <a:ext cx="252659" cy="25553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226"/>
            <p:cNvSpPr>
              <a:spLocks/>
            </p:cNvSpPr>
            <p:nvPr/>
          </p:nvSpPr>
          <p:spPr bwMode="auto">
            <a:xfrm>
              <a:off x="9846887" y="6167203"/>
              <a:ext cx="1177159" cy="183752"/>
            </a:xfrm>
            <a:custGeom>
              <a:avLst/>
              <a:gdLst>
                <a:gd name="T0" fmla="*/ 0 w 148"/>
                <a:gd name="T1" fmla="*/ 23 h 23"/>
                <a:gd name="T2" fmla="*/ 19 w 148"/>
                <a:gd name="T3" fmla="*/ 11 h 23"/>
                <a:gd name="T4" fmla="*/ 74 w 148"/>
                <a:gd name="T5" fmla="*/ 0 h 23"/>
                <a:gd name="T6" fmla="*/ 129 w 148"/>
                <a:gd name="T7" fmla="*/ 11 h 23"/>
                <a:gd name="T8" fmla="*/ 148 w 148"/>
                <a:gd name="T9" fmla="*/ 23 h 23"/>
                <a:gd name="T10" fmla="*/ 0 w 148"/>
                <a:gd name="T11" fmla="*/ 23 h 23"/>
              </a:gdLst>
              <a:ahLst/>
              <a:cxnLst>
                <a:cxn ang="0">
                  <a:pos x="T0" y="T1"/>
                </a:cxn>
                <a:cxn ang="0">
                  <a:pos x="T2" y="T3"/>
                </a:cxn>
                <a:cxn ang="0">
                  <a:pos x="T4" y="T5"/>
                </a:cxn>
                <a:cxn ang="0">
                  <a:pos x="T6" y="T7"/>
                </a:cxn>
                <a:cxn ang="0">
                  <a:pos x="T8" y="T9"/>
                </a:cxn>
                <a:cxn ang="0">
                  <a:pos x="T10" y="T11"/>
                </a:cxn>
              </a:cxnLst>
              <a:rect l="0" t="0" r="r" b="b"/>
              <a:pathLst>
                <a:path w="148" h="23">
                  <a:moveTo>
                    <a:pt x="0" y="23"/>
                  </a:moveTo>
                  <a:cubicBezTo>
                    <a:pt x="3" y="16"/>
                    <a:pt x="10" y="13"/>
                    <a:pt x="19" y="11"/>
                  </a:cubicBezTo>
                  <a:cubicBezTo>
                    <a:pt x="74" y="0"/>
                    <a:pt x="74" y="0"/>
                    <a:pt x="74" y="0"/>
                  </a:cubicBezTo>
                  <a:cubicBezTo>
                    <a:pt x="129" y="11"/>
                    <a:pt x="129" y="11"/>
                    <a:pt x="129" y="11"/>
                  </a:cubicBezTo>
                  <a:cubicBezTo>
                    <a:pt x="137" y="13"/>
                    <a:pt x="144" y="16"/>
                    <a:pt x="148" y="23"/>
                  </a:cubicBezTo>
                  <a:lnTo>
                    <a:pt x="0"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Rectangle 227"/>
            <p:cNvSpPr>
              <a:spLocks noChangeArrowheads="1"/>
            </p:cNvSpPr>
            <p:nvPr/>
          </p:nvSpPr>
          <p:spPr bwMode="auto">
            <a:xfrm>
              <a:off x="10894845" y="6350955"/>
              <a:ext cx="129201" cy="14929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Rectangle 228"/>
            <p:cNvSpPr>
              <a:spLocks noChangeArrowheads="1"/>
            </p:cNvSpPr>
            <p:nvPr/>
          </p:nvSpPr>
          <p:spPr bwMode="auto">
            <a:xfrm>
              <a:off x="9846887" y="6350955"/>
              <a:ext cx="126329" cy="14355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229"/>
            <p:cNvSpPr>
              <a:spLocks/>
            </p:cNvSpPr>
            <p:nvPr/>
          </p:nvSpPr>
          <p:spPr bwMode="auto">
            <a:xfrm>
              <a:off x="10458435" y="6373924"/>
              <a:ext cx="63165" cy="255530"/>
            </a:xfrm>
            <a:custGeom>
              <a:avLst/>
              <a:gdLst>
                <a:gd name="T0" fmla="*/ 0 w 8"/>
                <a:gd name="T1" fmla="*/ 30 h 32"/>
                <a:gd name="T2" fmla="*/ 2 w 8"/>
                <a:gd name="T3" fmla="*/ 32 h 32"/>
                <a:gd name="T4" fmla="*/ 6 w 8"/>
                <a:gd name="T5" fmla="*/ 32 h 32"/>
                <a:gd name="T6" fmla="*/ 8 w 8"/>
                <a:gd name="T7" fmla="*/ 30 h 32"/>
                <a:gd name="T8" fmla="*/ 8 w 8"/>
                <a:gd name="T9" fmla="*/ 2 h 32"/>
                <a:gd name="T10" fmla="*/ 6 w 8"/>
                <a:gd name="T11" fmla="*/ 0 h 32"/>
                <a:gd name="T12" fmla="*/ 2 w 8"/>
                <a:gd name="T13" fmla="*/ 0 h 32"/>
                <a:gd name="T14" fmla="*/ 0 w 8"/>
                <a:gd name="T15" fmla="*/ 2 h 32"/>
                <a:gd name="T16" fmla="*/ 0 w 8"/>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2">
                  <a:moveTo>
                    <a:pt x="0" y="30"/>
                  </a:moveTo>
                  <a:cubicBezTo>
                    <a:pt x="0" y="31"/>
                    <a:pt x="1" y="32"/>
                    <a:pt x="2" y="32"/>
                  </a:cubicBezTo>
                  <a:cubicBezTo>
                    <a:pt x="6" y="32"/>
                    <a:pt x="6" y="32"/>
                    <a:pt x="6" y="32"/>
                  </a:cubicBezTo>
                  <a:cubicBezTo>
                    <a:pt x="7" y="32"/>
                    <a:pt x="8" y="31"/>
                    <a:pt x="8" y="30"/>
                  </a:cubicBezTo>
                  <a:cubicBezTo>
                    <a:pt x="8" y="2"/>
                    <a:pt x="8" y="2"/>
                    <a:pt x="8" y="2"/>
                  </a:cubicBezTo>
                  <a:cubicBezTo>
                    <a:pt x="8" y="1"/>
                    <a:pt x="7" y="0"/>
                    <a:pt x="6" y="0"/>
                  </a:cubicBezTo>
                  <a:cubicBezTo>
                    <a:pt x="2" y="0"/>
                    <a:pt x="2" y="0"/>
                    <a:pt x="2" y="0"/>
                  </a:cubicBezTo>
                  <a:cubicBezTo>
                    <a:pt x="1" y="0"/>
                    <a:pt x="0" y="1"/>
                    <a:pt x="0" y="2"/>
                  </a:cubicBez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230"/>
            <p:cNvSpPr>
              <a:spLocks/>
            </p:cNvSpPr>
            <p:nvPr/>
          </p:nvSpPr>
          <p:spPr bwMode="auto">
            <a:xfrm>
              <a:off x="10332106" y="6373924"/>
              <a:ext cx="63165" cy="255530"/>
            </a:xfrm>
            <a:custGeom>
              <a:avLst/>
              <a:gdLst>
                <a:gd name="T0" fmla="*/ 0 w 8"/>
                <a:gd name="T1" fmla="*/ 30 h 32"/>
                <a:gd name="T2" fmla="*/ 2 w 8"/>
                <a:gd name="T3" fmla="*/ 32 h 32"/>
                <a:gd name="T4" fmla="*/ 6 w 8"/>
                <a:gd name="T5" fmla="*/ 32 h 32"/>
                <a:gd name="T6" fmla="*/ 8 w 8"/>
                <a:gd name="T7" fmla="*/ 30 h 32"/>
                <a:gd name="T8" fmla="*/ 8 w 8"/>
                <a:gd name="T9" fmla="*/ 2 h 32"/>
                <a:gd name="T10" fmla="*/ 6 w 8"/>
                <a:gd name="T11" fmla="*/ 0 h 32"/>
                <a:gd name="T12" fmla="*/ 2 w 8"/>
                <a:gd name="T13" fmla="*/ 0 h 32"/>
                <a:gd name="T14" fmla="*/ 0 w 8"/>
                <a:gd name="T15" fmla="*/ 2 h 32"/>
                <a:gd name="T16" fmla="*/ 0 w 8"/>
                <a:gd name="T17"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2">
                  <a:moveTo>
                    <a:pt x="0" y="30"/>
                  </a:moveTo>
                  <a:cubicBezTo>
                    <a:pt x="0" y="31"/>
                    <a:pt x="1" y="32"/>
                    <a:pt x="2" y="32"/>
                  </a:cubicBezTo>
                  <a:cubicBezTo>
                    <a:pt x="6" y="32"/>
                    <a:pt x="6" y="32"/>
                    <a:pt x="6" y="32"/>
                  </a:cubicBezTo>
                  <a:cubicBezTo>
                    <a:pt x="7" y="32"/>
                    <a:pt x="8" y="31"/>
                    <a:pt x="8" y="30"/>
                  </a:cubicBezTo>
                  <a:cubicBezTo>
                    <a:pt x="8" y="2"/>
                    <a:pt x="8" y="2"/>
                    <a:pt x="8" y="2"/>
                  </a:cubicBezTo>
                  <a:cubicBezTo>
                    <a:pt x="8" y="1"/>
                    <a:pt x="7" y="0"/>
                    <a:pt x="6" y="0"/>
                  </a:cubicBezTo>
                  <a:cubicBezTo>
                    <a:pt x="2" y="0"/>
                    <a:pt x="2" y="0"/>
                    <a:pt x="2" y="0"/>
                  </a:cubicBezTo>
                  <a:cubicBezTo>
                    <a:pt x="1" y="0"/>
                    <a:pt x="0" y="1"/>
                    <a:pt x="0" y="2"/>
                  </a:cubicBezTo>
                  <a:lnTo>
                    <a:pt x="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Rectangle 231"/>
            <p:cNvSpPr>
              <a:spLocks noChangeArrowheads="1"/>
            </p:cNvSpPr>
            <p:nvPr/>
          </p:nvSpPr>
          <p:spPr bwMode="auto">
            <a:xfrm>
              <a:off x="10363689" y="6190172"/>
              <a:ext cx="126329" cy="35889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232"/>
            <p:cNvSpPr>
              <a:spLocks/>
            </p:cNvSpPr>
            <p:nvPr/>
          </p:nvSpPr>
          <p:spPr bwMode="auto">
            <a:xfrm>
              <a:off x="10053608" y="5618818"/>
              <a:ext cx="746491" cy="94748"/>
            </a:xfrm>
            <a:custGeom>
              <a:avLst/>
              <a:gdLst>
                <a:gd name="T0" fmla="*/ 0 w 94"/>
                <a:gd name="T1" fmla="*/ 6 h 12"/>
                <a:gd name="T2" fmla="*/ 6 w 94"/>
                <a:gd name="T3" fmla="*/ 12 h 12"/>
                <a:gd name="T4" fmla="*/ 88 w 94"/>
                <a:gd name="T5" fmla="*/ 12 h 12"/>
                <a:gd name="T6" fmla="*/ 94 w 94"/>
                <a:gd name="T7" fmla="*/ 6 h 12"/>
                <a:gd name="T8" fmla="*/ 94 w 94"/>
                <a:gd name="T9" fmla="*/ 6 h 12"/>
                <a:gd name="T10" fmla="*/ 88 w 94"/>
                <a:gd name="T11" fmla="*/ 0 h 12"/>
                <a:gd name="T12" fmla="*/ 6 w 94"/>
                <a:gd name="T13" fmla="*/ 0 h 12"/>
                <a:gd name="T14" fmla="*/ 0 w 94"/>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2">
                  <a:moveTo>
                    <a:pt x="0" y="6"/>
                  </a:moveTo>
                  <a:cubicBezTo>
                    <a:pt x="0" y="9"/>
                    <a:pt x="2" y="12"/>
                    <a:pt x="6" y="12"/>
                  </a:cubicBezTo>
                  <a:cubicBezTo>
                    <a:pt x="88" y="12"/>
                    <a:pt x="88" y="12"/>
                    <a:pt x="88" y="12"/>
                  </a:cubicBezTo>
                  <a:cubicBezTo>
                    <a:pt x="91" y="12"/>
                    <a:pt x="94" y="9"/>
                    <a:pt x="94" y="6"/>
                  </a:cubicBezTo>
                  <a:cubicBezTo>
                    <a:pt x="94" y="6"/>
                    <a:pt x="94" y="6"/>
                    <a:pt x="94" y="6"/>
                  </a:cubicBezTo>
                  <a:cubicBezTo>
                    <a:pt x="94" y="2"/>
                    <a:pt x="91" y="0"/>
                    <a:pt x="88" y="0"/>
                  </a:cubicBezTo>
                  <a:cubicBezTo>
                    <a:pt x="6" y="0"/>
                    <a:pt x="6" y="0"/>
                    <a:pt x="6" y="0"/>
                  </a:cubicBezTo>
                  <a:cubicBezTo>
                    <a:pt x="2" y="0"/>
                    <a:pt x="0" y="2"/>
                    <a:pt x="0"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233"/>
            <p:cNvSpPr>
              <a:spLocks/>
            </p:cNvSpPr>
            <p:nvPr/>
          </p:nvSpPr>
          <p:spPr bwMode="auto">
            <a:xfrm>
              <a:off x="9711944" y="5561396"/>
              <a:ext cx="1429818" cy="103360"/>
            </a:xfrm>
            <a:custGeom>
              <a:avLst/>
              <a:gdLst>
                <a:gd name="T0" fmla="*/ 180 w 180"/>
                <a:gd name="T1" fmla="*/ 0 h 13"/>
                <a:gd name="T2" fmla="*/ 180 w 180"/>
                <a:gd name="T3" fmla="*/ 0 h 13"/>
                <a:gd name="T4" fmla="*/ 167 w 180"/>
                <a:gd name="T5" fmla="*/ 13 h 13"/>
                <a:gd name="T6" fmla="*/ 13 w 180"/>
                <a:gd name="T7" fmla="*/ 13 h 13"/>
                <a:gd name="T8" fmla="*/ 0 w 180"/>
                <a:gd name="T9" fmla="*/ 0 h 13"/>
                <a:gd name="T10" fmla="*/ 0 w 180"/>
                <a:gd name="T11" fmla="*/ 0 h 13"/>
                <a:gd name="T12" fmla="*/ 180 w 18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80" h="13">
                  <a:moveTo>
                    <a:pt x="180" y="0"/>
                  </a:moveTo>
                  <a:cubicBezTo>
                    <a:pt x="180" y="0"/>
                    <a:pt x="180" y="0"/>
                    <a:pt x="180" y="0"/>
                  </a:cubicBezTo>
                  <a:cubicBezTo>
                    <a:pt x="180" y="7"/>
                    <a:pt x="174" y="13"/>
                    <a:pt x="167" y="13"/>
                  </a:cubicBezTo>
                  <a:cubicBezTo>
                    <a:pt x="13" y="13"/>
                    <a:pt x="13" y="13"/>
                    <a:pt x="13" y="13"/>
                  </a:cubicBezTo>
                  <a:cubicBezTo>
                    <a:pt x="6" y="13"/>
                    <a:pt x="0" y="7"/>
                    <a:pt x="0" y="0"/>
                  </a:cubicBezTo>
                  <a:cubicBezTo>
                    <a:pt x="0" y="0"/>
                    <a:pt x="0" y="0"/>
                    <a:pt x="0" y="0"/>
                  </a:cubicBezTo>
                  <a:lnTo>
                    <a:pt x="180" y="0"/>
                  </a:lnTo>
                  <a:close/>
                </a:path>
              </a:pathLst>
            </a:custGeom>
            <a:solidFill>
              <a:srgbClr val="A38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234"/>
            <p:cNvSpPr>
              <a:spLocks/>
            </p:cNvSpPr>
            <p:nvPr/>
          </p:nvSpPr>
          <p:spPr bwMode="auto">
            <a:xfrm>
              <a:off x="11150376" y="3996637"/>
              <a:ext cx="103360" cy="1271906"/>
            </a:xfrm>
            <a:custGeom>
              <a:avLst/>
              <a:gdLst>
                <a:gd name="T0" fmla="*/ 0 w 13"/>
                <a:gd name="T1" fmla="*/ 0 h 160"/>
                <a:gd name="T2" fmla="*/ 0 w 13"/>
                <a:gd name="T3" fmla="*/ 0 h 160"/>
                <a:gd name="T4" fmla="*/ 13 w 13"/>
                <a:gd name="T5" fmla="*/ 13 h 160"/>
                <a:gd name="T6" fmla="*/ 13 w 13"/>
                <a:gd name="T7" fmla="*/ 147 h 160"/>
                <a:gd name="T8" fmla="*/ 0 w 13"/>
                <a:gd name="T9" fmla="*/ 160 h 160"/>
                <a:gd name="T10" fmla="*/ 0 w 13"/>
                <a:gd name="T11" fmla="*/ 160 h 160"/>
                <a:gd name="T12" fmla="*/ 0 w 13"/>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3" h="160">
                  <a:moveTo>
                    <a:pt x="0" y="0"/>
                  </a:moveTo>
                  <a:cubicBezTo>
                    <a:pt x="0" y="0"/>
                    <a:pt x="0" y="0"/>
                    <a:pt x="0" y="0"/>
                  </a:cubicBezTo>
                  <a:cubicBezTo>
                    <a:pt x="7" y="0"/>
                    <a:pt x="13" y="6"/>
                    <a:pt x="13" y="13"/>
                  </a:cubicBezTo>
                  <a:cubicBezTo>
                    <a:pt x="13" y="147"/>
                    <a:pt x="13" y="147"/>
                    <a:pt x="13" y="147"/>
                  </a:cubicBezTo>
                  <a:cubicBezTo>
                    <a:pt x="13" y="154"/>
                    <a:pt x="7" y="160"/>
                    <a:pt x="0" y="160"/>
                  </a:cubicBezTo>
                  <a:cubicBezTo>
                    <a:pt x="0" y="160"/>
                    <a:pt x="0" y="160"/>
                    <a:pt x="0" y="160"/>
                  </a:cubicBezTo>
                  <a:lnTo>
                    <a:pt x="0" y="0"/>
                  </a:lnTo>
                  <a:close/>
                </a:path>
              </a:pathLst>
            </a:custGeom>
            <a:solidFill>
              <a:srgbClr val="A389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235"/>
            <p:cNvSpPr>
              <a:spLocks/>
            </p:cNvSpPr>
            <p:nvPr/>
          </p:nvSpPr>
          <p:spPr bwMode="auto">
            <a:xfrm>
              <a:off x="10587637" y="4697190"/>
              <a:ext cx="737879" cy="1079541"/>
            </a:xfrm>
            <a:custGeom>
              <a:avLst/>
              <a:gdLst>
                <a:gd name="T0" fmla="*/ 0 w 93"/>
                <a:gd name="T1" fmla="*/ 136 h 136"/>
                <a:gd name="T2" fmla="*/ 72 w 93"/>
                <a:gd name="T3" fmla="*/ 136 h 136"/>
                <a:gd name="T4" fmla="*/ 93 w 93"/>
                <a:gd name="T5" fmla="*/ 115 h 136"/>
                <a:gd name="T6" fmla="*/ 93 w 93"/>
                <a:gd name="T7" fmla="*/ 0 h 136"/>
                <a:gd name="T8" fmla="*/ 84 w 93"/>
                <a:gd name="T9" fmla="*/ 0 h 136"/>
                <a:gd name="T10" fmla="*/ 84 w 93"/>
                <a:gd name="T11" fmla="*/ 115 h 136"/>
                <a:gd name="T12" fmla="*/ 72 w 93"/>
                <a:gd name="T13" fmla="*/ 127 h 136"/>
                <a:gd name="T14" fmla="*/ 0 w 93"/>
                <a:gd name="T15" fmla="*/ 127 h 136"/>
                <a:gd name="T16" fmla="*/ 0 w 93"/>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36">
                  <a:moveTo>
                    <a:pt x="0" y="136"/>
                  </a:moveTo>
                  <a:cubicBezTo>
                    <a:pt x="72" y="136"/>
                    <a:pt x="72" y="136"/>
                    <a:pt x="72" y="136"/>
                  </a:cubicBezTo>
                  <a:cubicBezTo>
                    <a:pt x="84" y="136"/>
                    <a:pt x="93" y="127"/>
                    <a:pt x="93" y="115"/>
                  </a:cubicBezTo>
                  <a:cubicBezTo>
                    <a:pt x="93" y="0"/>
                    <a:pt x="93" y="0"/>
                    <a:pt x="93" y="0"/>
                  </a:cubicBezTo>
                  <a:cubicBezTo>
                    <a:pt x="84" y="0"/>
                    <a:pt x="84" y="0"/>
                    <a:pt x="84" y="0"/>
                  </a:cubicBezTo>
                  <a:cubicBezTo>
                    <a:pt x="84" y="115"/>
                    <a:pt x="84" y="115"/>
                    <a:pt x="84" y="115"/>
                  </a:cubicBezTo>
                  <a:cubicBezTo>
                    <a:pt x="84" y="121"/>
                    <a:pt x="79" y="127"/>
                    <a:pt x="72" y="127"/>
                  </a:cubicBezTo>
                  <a:cubicBezTo>
                    <a:pt x="0" y="127"/>
                    <a:pt x="0" y="127"/>
                    <a:pt x="0" y="127"/>
                  </a:cubicBezTo>
                  <a:lnTo>
                    <a:pt x="0" y="1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36"/>
            <p:cNvSpPr>
              <a:spLocks/>
            </p:cNvSpPr>
            <p:nvPr/>
          </p:nvSpPr>
          <p:spPr bwMode="auto">
            <a:xfrm>
              <a:off x="10587637" y="5768117"/>
              <a:ext cx="180881" cy="160783"/>
            </a:xfrm>
            <a:custGeom>
              <a:avLst/>
              <a:gdLst>
                <a:gd name="T0" fmla="*/ 23 w 23"/>
                <a:gd name="T1" fmla="*/ 0 h 20"/>
                <a:gd name="T2" fmla="*/ 23 w 23"/>
                <a:gd name="T3" fmla="*/ 11 h 20"/>
                <a:gd name="T4" fmla="*/ 14 w 23"/>
                <a:gd name="T5" fmla="*/ 20 h 20"/>
                <a:gd name="T6" fmla="*/ 9 w 23"/>
                <a:gd name="T7" fmla="*/ 20 h 20"/>
                <a:gd name="T8" fmla="*/ 0 w 23"/>
                <a:gd name="T9" fmla="*/ 11 h 20"/>
                <a:gd name="T10" fmla="*/ 0 w 23"/>
                <a:gd name="T11" fmla="*/ 0 h 20"/>
                <a:gd name="T12" fmla="*/ 23 w 23"/>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3" h="20">
                  <a:moveTo>
                    <a:pt x="23" y="0"/>
                  </a:moveTo>
                  <a:cubicBezTo>
                    <a:pt x="23" y="11"/>
                    <a:pt x="23" y="11"/>
                    <a:pt x="23" y="11"/>
                  </a:cubicBezTo>
                  <a:cubicBezTo>
                    <a:pt x="23" y="16"/>
                    <a:pt x="19" y="20"/>
                    <a:pt x="14" y="20"/>
                  </a:cubicBezTo>
                  <a:cubicBezTo>
                    <a:pt x="9" y="20"/>
                    <a:pt x="9" y="20"/>
                    <a:pt x="9" y="20"/>
                  </a:cubicBezTo>
                  <a:cubicBezTo>
                    <a:pt x="4" y="20"/>
                    <a:pt x="0" y="16"/>
                    <a:pt x="0" y="11"/>
                  </a:cubicBezTo>
                  <a:cubicBezTo>
                    <a:pt x="0" y="0"/>
                    <a:pt x="0" y="0"/>
                    <a:pt x="0" y="0"/>
                  </a:cubicBez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37"/>
            <p:cNvSpPr>
              <a:spLocks/>
            </p:cNvSpPr>
            <p:nvPr/>
          </p:nvSpPr>
          <p:spPr bwMode="auto">
            <a:xfrm>
              <a:off x="11253736" y="4608185"/>
              <a:ext cx="157913" cy="183752"/>
            </a:xfrm>
            <a:custGeom>
              <a:avLst/>
              <a:gdLst>
                <a:gd name="T0" fmla="*/ 0 w 20"/>
                <a:gd name="T1" fmla="*/ 0 h 23"/>
                <a:gd name="T2" fmla="*/ 11 w 20"/>
                <a:gd name="T3" fmla="*/ 0 h 23"/>
                <a:gd name="T4" fmla="*/ 20 w 20"/>
                <a:gd name="T5" fmla="*/ 9 h 23"/>
                <a:gd name="T6" fmla="*/ 20 w 20"/>
                <a:gd name="T7" fmla="*/ 14 h 23"/>
                <a:gd name="T8" fmla="*/ 11 w 20"/>
                <a:gd name="T9" fmla="*/ 23 h 23"/>
                <a:gd name="T10" fmla="*/ 0 w 20"/>
                <a:gd name="T11" fmla="*/ 23 h 23"/>
                <a:gd name="T12" fmla="*/ 0 w 20"/>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0" h="23">
                  <a:moveTo>
                    <a:pt x="0" y="0"/>
                  </a:moveTo>
                  <a:cubicBezTo>
                    <a:pt x="11" y="0"/>
                    <a:pt x="11" y="0"/>
                    <a:pt x="11" y="0"/>
                  </a:cubicBezTo>
                  <a:cubicBezTo>
                    <a:pt x="16" y="0"/>
                    <a:pt x="20" y="4"/>
                    <a:pt x="20" y="9"/>
                  </a:cubicBezTo>
                  <a:cubicBezTo>
                    <a:pt x="20" y="14"/>
                    <a:pt x="20" y="14"/>
                    <a:pt x="20" y="14"/>
                  </a:cubicBezTo>
                  <a:cubicBezTo>
                    <a:pt x="20" y="19"/>
                    <a:pt x="16" y="23"/>
                    <a:pt x="11" y="23"/>
                  </a:cubicBezTo>
                  <a:cubicBezTo>
                    <a:pt x="0" y="23"/>
                    <a:pt x="0" y="23"/>
                    <a:pt x="0" y="23"/>
                  </a:cubicBez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38"/>
            <p:cNvSpPr>
              <a:spLocks/>
            </p:cNvSpPr>
            <p:nvPr/>
          </p:nvSpPr>
          <p:spPr bwMode="auto">
            <a:xfrm>
              <a:off x="9720558" y="5389129"/>
              <a:ext cx="1421206" cy="134943"/>
            </a:xfrm>
            <a:custGeom>
              <a:avLst/>
              <a:gdLst>
                <a:gd name="T0" fmla="*/ 0 w 179"/>
                <a:gd name="T1" fmla="*/ 9 h 17"/>
                <a:gd name="T2" fmla="*/ 9 w 179"/>
                <a:gd name="T3" fmla="*/ 0 h 17"/>
                <a:gd name="T4" fmla="*/ 170 w 179"/>
                <a:gd name="T5" fmla="*/ 0 h 17"/>
                <a:gd name="T6" fmla="*/ 179 w 179"/>
                <a:gd name="T7" fmla="*/ 9 h 17"/>
                <a:gd name="T8" fmla="*/ 179 w 179"/>
                <a:gd name="T9" fmla="*/ 9 h 17"/>
                <a:gd name="T10" fmla="*/ 170 w 179"/>
                <a:gd name="T11" fmla="*/ 17 h 17"/>
                <a:gd name="T12" fmla="*/ 9 w 179"/>
                <a:gd name="T13" fmla="*/ 17 h 17"/>
                <a:gd name="T14" fmla="*/ 0 w 179"/>
                <a:gd name="T15" fmla="*/ 9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9" h="17">
                  <a:moveTo>
                    <a:pt x="0" y="9"/>
                  </a:moveTo>
                  <a:cubicBezTo>
                    <a:pt x="0" y="4"/>
                    <a:pt x="4" y="0"/>
                    <a:pt x="9" y="0"/>
                  </a:cubicBezTo>
                  <a:cubicBezTo>
                    <a:pt x="170" y="0"/>
                    <a:pt x="170" y="0"/>
                    <a:pt x="170" y="0"/>
                  </a:cubicBezTo>
                  <a:cubicBezTo>
                    <a:pt x="175" y="0"/>
                    <a:pt x="179" y="4"/>
                    <a:pt x="179" y="9"/>
                  </a:cubicBezTo>
                  <a:cubicBezTo>
                    <a:pt x="179" y="9"/>
                    <a:pt x="179" y="9"/>
                    <a:pt x="179" y="9"/>
                  </a:cubicBezTo>
                  <a:cubicBezTo>
                    <a:pt x="179" y="13"/>
                    <a:pt x="175" y="17"/>
                    <a:pt x="170" y="17"/>
                  </a:cubicBezTo>
                  <a:cubicBezTo>
                    <a:pt x="9" y="17"/>
                    <a:pt x="9" y="17"/>
                    <a:pt x="9" y="17"/>
                  </a:cubicBezTo>
                  <a:cubicBezTo>
                    <a:pt x="4" y="17"/>
                    <a:pt x="0" y="13"/>
                    <a:pt x="0" y="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30" name="Freeform 40"/>
          <p:cNvSpPr>
            <a:spLocks/>
          </p:cNvSpPr>
          <p:nvPr/>
        </p:nvSpPr>
        <p:spPr bwMode="auto">
          <a:xfrm>
            <a:off x="9412072" y="3708876"/>
            <a:ext cx="260350" cy="122238"/>
          </a:xfrm>
          <a:custGeom>
            <a:avLst/>
            <a:gdLst>
              <a:gd name="T0" fmla="*/ 55 w 58"/>
              <a:gd name="T1" fmla="*/ 8 h 27"/>
              <a:gd name="T2" fmla="*/ 54 w 58"/>
              <a:gd name="T3" fmla="*/ 7 h 27"/>
              <a:gd name="T4" fmla="*/ 29 w 58"/>
              <a:gd name="T5" fmla="*/ 0 h 27"/>
              <a:gd name="T6" fmla="*/ 4 w 58"/>
              <a:gd name="T7" fmla="*/ 7 h 27"/>
              <a:gd name="T8" fmla="*/ 3 w 58"/>
              <a:gd name="T9" fmla="*/ 8 h 27"/>
              <a:gd name="T10" fmla="*/ 0 w 58"/>
              <a:gd name="T11" fmla="*/ 13 h 27"/>
              <a:gd name="T12" fmla="*/ 0 w 58"/>
              <a:gd name="T13" fmla="*/ 22 h 27"/>
              <a:gd name="T14" fmla="*/ 6 w 58"/>
              <a:gd name="T15" fmla="*/ 27 h 27"/>
              <a:gd name="T16" fmla="*/ 53 w 58"/>
              <a:gd name="T17" fmla="*/ 27 h 27"/>
              <a:gd name="T18" fmla="*/ 58 w 58"/>
              <a:gd name="T19" fmla="*/ 22 h 27"/>
              <a:gd name="T20" fmla="*/ 58 w 58"/>
              <a:gd name="T21" fmla="*/ 13 h 27"/>
              <a:gd name="T22" fmla="*/ 55 w 58"/>
              <a:gd name="T23"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27">
                <a:moveTo>
                  <a:pt x="55" y="8"/>
                </a:moveTo>
                <a:cubicBezTo>
                  <a:pt x="55" y="8"/>
                  <a:pt x="55" y="8"/>
                  <a:pt x="54" y="7"/>
                </a:cubicBezTo>
                <a:cubicBezTo>
                  <a:pt x="47" y="3"/>
                  <a:pt x="38" y="0"/>
                  <a:pt x="29" y="0"/>
                </a:cubicBezTo>
                <a:cubicBezTo>
                  <a:pt x="20" y="0"/>
                  <a:pt x="11" y="3"/>
                  <a:pt x="4" y="7"/>
                </a:cubicBezTo>
                <a:cubicBezTo>
                  <a:pt x="4" y="8"/>
                  <a:pt x="3" y="8"/>
                  <a:pt x="3" y="8"/>
                </a:cubicBezTo>
                <a:cubicBezTo>
                  <a:pt x="1" y="9"/>
                  <a:pt x="0" y="11"/>
                  <a:pt x="0" y="13"/>
                </a:cubicBezTo>
                <a:cubicBezTo>
                  <a:pt x="0" y="22"/>
                  <a:pt x="0" y="22"/>
                  <a:pt x="0" y="22"/>
                </a:cubicBezTo>
                <a:cubicBezTo>
                  <a:pt x="0" y="25"/>
                  <a:pt x="3" y="27"/>
                  <a:pt x="6" y="27"/>
                </a:cubicBezTo>
                <a:cubicBezTo>
                  <a:pt x="53" y="27"/>
                  <a:pt x="53" y="27"/>
                  <a:pt x="53" y="27"/>
                </a:cubicBezTo>
                <a:cubicBezTo>
                  <a:pt x="56" y="27"/>
                  <a:pt x="58" y="25"/>
                  <a:pt x="58" y="22"/>
                </a:cubicBezTo>
                <a:cubicBezTo>
                  <a:pt x="58" y="13"/>
                  <a:pt x="58" y="13"/>
                  <a:pt x="58" y="13"/>
                </a:cubicBezTo>
                <a:cubicBezTo>
                  <a:pt x="58" y="11"/>
                  <a:pt x="57" y="9"/>
                  <a:pt x="55"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41"/>
          <p:cNvSpPr>
            <a:spLocks/>
          </p:cNvSpPr>
          <p:nvPr/>
        </p:nvSpPr>
        <p:spPr bwMode="auto">
          <a:xfrm>
            <a:off x="9532722" y="3699351"/>
            <a:ext cx="22225" cy="73025"/>
          </a:xfrm>
          <a:custGeom>
            <a:avLst/>
            <a:gdLst>
              <a:gd name="T0" fmla="*/ 5 w 5"/>
              <a:gd name="T1" fmla="*/ 13 h 16"/>
              <a:gd name="T2" fmla="*/ 2 w 5"/>
              <a:gd name="T3" fmla="*/ 16 h 16"/>
              <a:gd name="T4" fmla="*/ 2 w 5"/>
              <a:gd name="T5" fmla="*/ 16 h 16"/>
              <a:gd name="T6" fmla="*/ 0 w 5"/>
              <a:gd name="T7" fmla="*/ 13 h 16"/>
              <a:gd name="T8" fmla="*/ 0 w 5"/>
              <a:gd name="T9" fmla="*/ 2 h 16"/>
              <a:gd name="T10" fmla="*/ 2 w 5"/>
              <a:gd name="T11" fmla="*/ 0 h 16"/>
              <a:gd name="T12" fmla="*/ 2 w 5"/>
              <a:gd name="T13" fmla="*/ 0 h 16"/>
              <a:gd name="T14" fmla="*/ 5 w 5"/>
              <a:gd name="T15" fmla="*/ 2 h 16"/>
              <a:gd name="T16" fmla="*/ 5 w 5"/>
              <a:gd name="T1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6">
                <a:moveTo>
                  <a:pt x="5" y="13"/>
                </a:moveTo>
                <a:cubicBezTo>
                  <a:pt x="5" y="15"/>
                  <a:pt x="4" y="16"/>
                  <a:pt x="2" y="16"/>
                </a:cubicBezTo>
                <a:cubicBezTo>
                  <a:pt x="2" y="16"/>
                  <a:pt x="2" y="16"/>
                  <a:pt x="2" y="16"/>
                </a:cubicBezTo>
                <a:cubicBezTo>
                  <a:pt x="1" y="16"/>
                  <a:pt x="0" y="15"/>
                  <a:pt x="0" y="13"/>
                </a:cubicBezTo>
                <a:cubicBezTo>
                  <a:pt x="0" y="2"/>
                  <a:pt x="0" y="2"/>
                  <a:pt x="0" y="2"/>
                </a:cubicBezTo>
                <a:cubicBezTo>
                  <a:pt x="0" y="1"/>
                  <a:pt x="1" y="0"/>
                  <a:pt x="2" y="0"/>
                </a:cubicBezTo>
                <a:cubicBezTo>
                  <a:pt x="2" y="0"/>
                  <a:pt x="2" y="0"/>
                  <a:pt x="2" y="0"/>
                </a:cubicBezTo>
                <a:cubicBezTo>
                  <a:pt x="4" y="0"/>
                  <a:pt x="5" y="1"/>
                  <a:pt x="5" y="2"/>
                </a:cubicBezTo>
                <a:lnTo>
                  <a:pt x="5" y="1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5"/>
          <p:cNvSpPr>
            <a:spLocks/>
          </p:cNvSpPr>
          <p:nvPr/>
        </p:nvSpPr>
        <p:spPr bwMode="auto">
          <a:xfrm>
            <a:off x="8134810" y="3745478"/>
            <a:ext cx="1074450" cy="127517"/>
          </a:xfrm>
          <a:custGeom>
            <a:avLst/>
            <a:gdLst>
              <a:gd name="T0" fmla="*/ 416 w 455"/>
              <a:gd name="T1" fmla="*/ 0 h 54"/>
              <a:gd name="T2" fmla="*/ 31 w 455"/>
              <a:gd name="T3" fmla="*/ 0 h 54"/>
              <a:gd name="T4" fmla="*/ 0 w 455"/>
              <a:gd name="T5" fmla="*/ 54 h 54"/>
              <a:gd name="T6" fmla="*/ 455 w 455"/>
              <a:gd name="T7" fmla="*/ 54 h 54"/>
              <a:gd name="T8" fmla="*/ 416 w 455"/>
              <a:gd name="T9" fmla="*/ 0 h 54"/>
            </a:gdLst>
            <a:ahLst/>
            <a:cxnLst>
              <a:cxn ang="0">
                <a:pos x="T0" y="T1"/>
              </a:cxn>
              <a:cxn ang="0">
                <a:pos x="T2" y="T3"/>
              </a:cxn>
              <a:cxn ang="0">
                <a:pos x="T4" y="T5"/>
              </a:cxn>
              <a:cxn ang="0">
                <a:pos x="T6" y="T7"/>
              </a:cxn>
              <a:cxn ang="0">
                <a:pos x="T8" y="T9"/>
              </a:cxn>
            </a:cxnLst>
            <a:rect l="0" t="0" r="r" b="b"/>
            <a:pathLst>
              <a:path w="455" h="54">
                <a:moveTo>
                  <a:pt x="416" y="0"/>
                </a:moveTo>
                <a:lnTo>
                  <a:pt x="31" y="0"/>
                </a:lnTo>
                <a:lnTo>
                  <a:pt x="0" y="54"/>
                </a:lnTo>
                <a:lnTo>
                  <a:pt x="455" y="54"/>
                </a:lnTo>
                <a:lnTo>
                  <a:pt x="41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8"/>
          <p:cNvSpPr>
            <a:spLocks/>
          </p:cNvSpPr>
          <p:nvPr/>
        </p:nvSpPr>
        <p:spPr bwMode="auto">
          <a:xfrm>
            <a:off x="8529169" y="3464468"/>
            <a:ext cx="281009" cy="342408"/>
          </a:xfrm>
          <a:custGeom>
            <a:avLst/>
            <a:gdLst>
              <a:gd name="T0" fmla="*/ 29 w 42"/>
              <a:gd name="T1" fmla="*/ 0 h 51"/>
              <a:gd name="T2" fmla="*/ 31 w 42"/>
              <a:gd name="T3" fmla="*/ 5 h 51"/>
              <a:gd name="T4" fmla="*/ 21 w 42"/>
              <a:gd name="T5" fmla="*/ 15 h 51"/>
              <a:gd name="T6" fmla="*/ 11 w 42"/>
              <a:gd name="T7" fmla="*/ 5 h 51"/>
              <a:gd name="T8" fmla="*/ 12 w 42"/>
              <a:gd name="T9" fmla="*/ 0 h 51"/>
              <a:gd name="T10" fmla="*/ 0 w 42"/>
              <a:gd name="T11" fmla="*/ 0 h 51"/>
              <a:gd name="T12" fmla="*/ 0 w 42"/>
              <a:gd name="T13" fmla="*/ 51 h 51"/>
              <a:gd name="T14" fmla="*/ 42 w 42"/>
              <a:gd name="T15" fmla="*/ 51 h 51"/>
              <a:gd name="T16" fmla="*/ 42 w 42"/>
              <a:gd name="T17" fmla="*/ 0 h 51"/>
              <a:gd name="T18" fmla="*/ 29 w 42"/>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51">
                <a:moveTo>
                  <a:pt x="29" y="0"/>
                </a:moveTo>
                <a:cubicBezTo>
                  <a:pt x="30" y="2"/>
                  <a:pt x="31" y="3"/>
                  <a:pt x="31" y="5"/>
                </a:cubicBezTo>
                <a:cubicBezTo>
                  <a:pt x="31" y="11"/>
                  <a:pt x="26" y="15"/>
                  <a:pt x="21" y="15"/>
                </a:cubicBezTo>
                <a:cubicBezTo>
                  <a:pt x="15" y="15"/>
                  <a:pt x="11" y="11"/>
                  <a:pt x="11" y="5"/>
                </a:cubicBezTo>
                <a:cubicBezTo>
                  <a:pt x="11" y="3"/>
                  <a:pt x="11" y="2"/>
                  <a:pt x="12" y="0"/>
                </a:cubicBezTo>
                <a:cubicBezTo>
                  <a:pt x="0" y="0"/>
                  <a:pt x="0" y="0"/>
                  <a:pt x="0" y="0"/>
                </a:cubicBezTo>
                <a:cubicBezTo>
                  <a:pt x="0" y="51"/>
                  <a:pt x="0" y="51"/>
                  <a:pt x="0" y="51"/>
                </a:cubicBezTo>
                <a:cubicBezTo>
                  <a:pt x="42" y="51"/>
                  <a:pt x="42" y="51"/>
                  <a:pt x="42" y="51"/>
                </a:cubicBezTo>
                <a:cubicBezTo>
                  <a:pt x="42" y="0"/>
                  <a:pt x="42" y="0"/>
                  <a:pt x="42" y="0"/>
                </a:cubicBezTo>
                <a:lnTo>
                  <a:pt x="29" y="0"/>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6" name="Group 35"/>
          <p:cNvGrpSpPr/>
          <p:nvPr/>
        </p:nvGrpSpPr>
        <p:grpSpPr>
          <a:xfrm>
            <a:off x="7271135" y="1852611"/>
            <a:ext cx="2687072" cy="1614574"/>
            <a:chOff x="7586958" y="2163320"/>
            <a:chExt cx="2177238" cy="1308232"/>
          </a:xfrm>
        </p:grpSpPr>
        <p:sp>
          <p:nvSpPr>
            <p:cNvPr id="37" name="Freeform 7"/>
            <p:cNvSpPr>
              <a:spLocks/>
            </p:cNvSpPr>
            <p:nvPr/>
          </p:nvSpPr>
          <p:spPr bwMode="auto">
            <a:xfrm>
              <a:off x="7586958" y="2163320"/>
              <a:ext cx="2177238" cy="1308232"/>
            </a:xfrm>
            <a:custGeom>
              <a:avLst/>
              <a:gdLst>
                <a:gd name="T0" fmla="*/ 326 w 326"/>
                <a:gd name="T1" fmla="*/ 184 h 195"/>
                <a:gd name="T2" fmla="*/ 316 w 326"/>
                <a:gd name="T3" fmla="*/ 195 h 195"/>
                <a:gd name="T4" fmla="*/ 11 w 326"/>
                <a:gd name="T5" fmla="*/ 195 h 195"/>
                <a:gd name="T6" fmla="*/ 0 w 326"/>
                <a:gd name="T7" fmla="*/ 184 h 195"/>
                <a:gd name="T8" fmla="*/ 0 w 326"/>
                <a:gd name="T9" fmla="*/ 11 h 195"/>
                <a:gd name="T10" fmla="*/ 11 w 326"/>
                <a:gd name="T11" fmla="*/ 0 h 195"/>
                <a:gd name="T12" fmla="*/ 316 w 326"/>
                <a:gd name="T13" fmla="*/ 0 h 195"/>
                <a:gd name="T14" fmla="*/ 326 w 326"/>
                <a:gd name="T15" fmla="*/ 11 h 195"/>
                <a:gd name="T16" fmla="*/ 326 w 326"/>
                <a:gd name="T17" fmla="*/ 18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195">
                  <a:moveTo>
                    <a:pt x="326" y="184"/>
                  </a:moveTo>
                  <a:cubicBezTo>
                    <a:pt x="326" y="190"/>
                    <a:pt x="321" y="195"/>
                    <a:pt x="316" y="195"/>
                  </a:cubicBezTo>
                  <a:cubicBezTo>
                    <a:pt x="11" y="195"/>
                    <a:pt x="11" y="195"/>
                    <a:pt x="11" y="195"/>
                  </a:cubicBezTo>
                  <a:cubicBezTo>
                    <a:pt x="5" y="195"/>
                    <a:pt x="0" y="190"/>
                    <a:pt x="0" y="184"/>
                  </a:cubicBezTo>
                  <a:cubicBezTo>
                    <a:pt x="0" y="11"/>
                    <a:pt x="0" y="11"/>
                    <a:pt x="0" y="11"/>
                  </a:cubicBezTo>
                  <a:cubicBezTo>
                    <a:pt x="0" y="5"/>
                    <a:pt x="5" y="0"/>
                    <a:pt x="11" y="0"/>
                  </a:cubicBezTo>
                  <a:cubicBezTo>
                    <a:pt x="316" y="0"/>
                    <a:pt x="316" y="0"/>
                    <a:pt x="316" y="0"/>
                  </a:cubicBezTo>
                  <a:cubicBezTo>
                    <a:pt x="321" y="0"/>
                    <a:pt x="326" y="5"/>
                    <a:pt x="326" y="11"/>
                  </a:cubicBezTo>
                  <a:lnTo>
                    <a:pt x="326" y="18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9"/>
            <p:cNvSpPr>
              <a:spLocks/>
            </p:cNvSpPr>
            <p:nvPr/>
          </p:nvSpPr>
          <p:spPr bwMode="auto">
            <a:xfrm>
              <a:off x="7645994" y="2222356"/>
              <a:ext cx="2052081" cy="1133486"/>
            </a:xfrm>
            <a:custGeom>
              <a:avLst/>
              <a:gdLst>
                <a:gd name="T0" fmla="*/ 307 w 307"/>
                <a:gd name="T1" fmla="*/ 165 h 169"/>
                <a:gd name="T2" fmla="*/ 303 w 307"/>
                <a:gd name="T3" fmla="*/ 169 h 169"/>
                <a:gd name="T4" fmla="*/ 5 w 307"/>
                <a:gd name="T5" fmla="*/ 169 h 169"/>
                <a:gd name="T6" fmla="*/ 0 w 307"/>
                <a:gd name="T7" fmla="*/ 165 h 169"/>
                <a:gd name="T8" fmla="*/ 0 w 307"/>
                <a:gd name="T9" fmla="*/ 4 h 169"/>
                <a:gd name="T10" fmla="*/ 5 w 307"/>
                <a:gd name="T11" fmla="*/ 0 h 169"/>
                <a:gd name="T12" fmla="*/ 303 w 307"/>
                <a:gd name="T13" fmla="*/ 0 h 169"/>
                <a:gd name="T14" fmla="*/ 307 w 307"/>
                <a:gd name="T15" fmla="*/ 4 h 169"/>
                <a:gd name="T16" fmla="*/ 307 w 307"/>
                <a:gd name="T17"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7" h="169">
                  <a:moveTo>
                    <a:pt x="307" y="165"/>
                  </a:moveTo>
                  <a:cubicBezTo>
                    <a:pt x="307" y="167"/>
                    <a:pt x="305" y="169"/>
                    <a:pt x="303" y="169"/>
                  </a:cubicBezTo>
                  <a:cubicBezTo>
                    <a:pt x="5" y="169"/>
                    <a:pt x="5" y="169"/>
                    <a:pt x="5" y="169"/>
                  </a:cubicBezTo>
                  <a:cubicBezTo>
                    <a:pt x="2" y="169"/>
                    <a:pt x="0" y="167"/>
                    <a:pt x="0" y="165"/>
                  </a:cubicBezTo>
                  <a:cubicBezTo>
                    <a:pt x="0" y="4"/>
                    <a:pt x="0" y="4"/>
                    <a:pt x="0" y="4"/>
                  </a:cubicBezTo>
                  <a:cubicBezTo>
                    <a:pt x="0" y="2"/>
                    <a:pt x="2" y="0"/>
                    <a:pt x="5" y="0"/>
                  </a:cubicBezTo>
                  <a:cubicBezTo>
                    <a:pt x="303" y="0"/>
                    <a:pt x="303" y="0"/>
                    <a:pt x="303" y="0"/>
                  </a:cubicBezTo>
                  <a:cubicBezTo>
                    <a:pt x="305" y="0"/>
                    <a:pt x="307" y="2"/>
                    <a:pt x="307" y="4"/>
                  </a:cubicBezTo>
                  <a:lnTo>
                    <a:pt x="307" y="165"/>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Rectangle 38"/>
            <p:cNvSpPr/>
            <p:nvPr/>
          </p:nvSpPr>
          <p:spPr bwMode="auto">
            <a:xfrm>
              <a:off x="7645997" y="2222356"/>
              <a:ext cx="2059164" cy="1133486"/>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pic>
          <p:nvPicPr>
            <p:cNvPr id="40" name="Picture 39"/>
            <p:cNvPicPr>
              <a:picLocks/>
            </p:cNvPicPr>
            <p:nvPr/>
          </p:nvPicPr>
          <p:blipFill>
            <a:blip r:embed="rId2"/>
            <a:stretch>
              <a:fillRect/>
            </a:stretch>
          </p:blipFill>
          <p:spPr>
            <a:xfrm>
              <a:off x="8915299" y="2808304"/>
              <a:ext cx="457200" cy="457200"/>
            </a:xfrm>
            <a:prstGeom prst="rect">
              <a:avLst/>
            </a:prstGeom>
          </p:spPr>
        </p:pic>
        <p:pic>
          <p:nvPicPr>
            <p:cNvPr id="41" name="Picture 40"/>
            <p:cNvPicPr>
              <a:picLocks noChangeAspect="1"/>
            </p:cNvPicPr>
            <p:nvPr/>
          </p:nvPicPr>
          <p:blipFill>
            <a:blip r:embed="rId3"/>
            <a:stretch>
              <a:fillRect/>
            </a:stretch>
          </p:blipFill>
          <p:spPr>
            <a:xfrm>
              <a:off x="8709831" y="2271531"/>
              <a:ext cx="775287" cy="469669"/>
            </a:xfrm>
            <a:prstGeom prst="rect">
              <a:avLst/>
            </a:prstGeom>
          </p:spPr>
        </p:pic>
        <p:grpSp>
          <p:nvGrpSpPr>
            <p:cNvPr id="42" name="Group 41"/>
            <p:cNvGrpSpPr/>
            <p:nvPr/>
          </p:nvGrpSpPr>
          <p:grpSpPr>
            <a:xfrm>
              <a:off x="7808557" y="2335853"/>
              <a:ext cx="590930" cy="951359"/>
              <a:chOff x="13600846" y="-1636969"/>
              <a:chExt cx="687765" cy="1110915"/>
            </a:xfrm>
          </p:grpSpPr>
          <p:sp>
            <p:nvSpPr>
              <p:cNvPr id="43" name="Oval 56"/>
              <p:cNvSpPr>
                <a:spLocks noChangeArrowheads="1"/>
              </p:cNvSpPr>
              <p:nvPr/>
            </p:nvSpPr>
            <p:spPr bwMode="auto">
              <a:xfrm>
                <a:off x="13600846" y="-1636969"/>
                <a:ext cx="73186" cy="731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4" name="Oval 57"/>
              <p:cNvSpPr>
                <a:spLocks noChangeArrowheads="1"/>
              </p:cNvSpPr>
              <p:nvPr/>
            </p:nvSpPr>
            <p:spPr bwMode="auto">
              <a:xfrm>
                <a:off x="13600846" y="-1491052"/>
                <a:ext cx="73186" cy="731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5" name="Oval 58"/>
              <p:cNvSpPr>
                <a:spLocks noChangeArrowheads="1"/>
              </p:cNvSpPr>
              <p:nvPr/>
            </p:nvSpPr>
            <p:spPr bwMode="auto">
              <a:xfrm>
                <a:off x="13600846" y="-1344680"/>
                <a:ext cx="73186" cy="7273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6" name="Oval 59"/>
              <p:cNvSpPr>
                <a:spLocks noChangeArrowheads="1"/>
              </p:cNvSpPr>
              <p:nvPr/>
            </p:nvSpPr>
            <p:spPr bwMode="auto">
              <a:xfrm>
                <a:off x="13600846" y="-1491052"/>
                <a:ext cx="73186" cy="731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7" name="Oval 60"/>
              <p:cNvSpPr>
                <a:spLocks noChangeArrowheads="1"/>
              </p:cNvSpPr>
              <p:nvPr/>
            </p:nvSpPr>
            <p:spPr bwMode="auto">
              <a:xfrm>
                <a:off x="13600846" y="-1344680"/>
                <a:ext cx="73186" cy="7273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8" name="Oval 61"/>
              <p:cNvSpPr>
                <a:spLocks noChangeArrowheads="1"/>
              </p:cNvSpPr>
              <p:nvPr/>
            </p:nvSpPr>
            <p:spPr bwMode="auto">
              <a:xfrm>
                <a:off x="13600846" y="-1198763"/>
                <a:ext cx="73186" cy="731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9" name="Freeform 62"/>
              <p:cNvSpPr>
                <a:spLocks/>
              </p:cNvSpPr>
              <p:nvPr/>
            </p:nvSpPr>
            <p:spPr bwMode="auto">
              <a:xfrm>
                <a:off x="13738581" y="-1636969"/>
                <a:ext cx="536848" cy="73186"/>
              </a:xfrm>
              <a:custGeom>
                <a:avLst/>
                <a:gdLst>
                  <a:gd name="T0" fmla="*/ 478 w 500"/>
                  <a:gd name="T1" fmla="*/ 0 h 68"/>
                  <a:gd name="T2" fmla="*/ 21 w 500"/>
                  <a:gd name="T3" fmla="*/ 0 h 68"/>
                  <a:gd name="T4" fmla="*/ 0 w 500"/>
                  <a:gd name="T5" fmla="*/ 30 h 68"/>
                  <a:gd name="T6" fmla="*/ 0 w 500"/>
                  <a:gd name="T7" fmla="*/ 38 h 68"/>
                  <a:gd name="T8" fmla="*/ 21 w 500"/>
                  <a:gd name="T9" fmla="*/ 68 h 68"/>
                  <a:gd name="T10" fmla="*/ 478 w 500"/>
                  <a:gd name="T11" fmla="*/ 68 h 68"/>
                  <a:gd name="T12" fmla="*/ 500 w 500"/>
                  <a:gd name="T13" fmla="*/ 38 h 68"/>
                  <a:gd name="T14" fmla="*/ 500 w 500"/>
                  <a:gd name="T15" fmla="*/ 30 h 68"/>
                  <a:gd name="T16" fmla="*/ 478 w 500"/>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0" h="68">
                    <a:moveTo>
                      <a:pt x="478" y="0"/>
                    </a:moveTo>
                    <a:cubicBezTo>
                      <a:pt x="21" y="0"/>
                      <a:pt x="21" y="0"/>
                      <a:pt x="21" y="0"/>
                    </a:cubicBezTo>
                    <a:cubicBezTo>
                      <a:pt x="9" y="0"/>
                      <a:pt x="0" y="14"/>
                      <a:pt x="0" y="30"/>
                    </a:cubicBezTo>
                    <a:cubicBezTo>
                      <a:pt x="0" y="38"/>
                      <a:pt x="0" y="38"/>
                      <a:pt x="0" y="38"/>
                    </a:cubicBezTo>
                    <a:cubicBezTo>
                      <a:pt x="0" y="54"/>
                      <a:pt x="9" y="68"/>
                      <a:pt x="21" y="68"/>
                    </a:cubicBezTo>
                    <a:cubicBezTo>
                      <a:pt x="478" y="68"/>
                      <a:pt x="478" y="68"/>
                      <a:pt x="478" y="68"/>
                    </a:cubicBezTo>
                    <a:cubicBezTo>
                      <a:pt x="490" y="68"/>
                      <a:pt x="500" y="54"/>
                      <a:pt x="500" y="38"/>
                    </a:cubicBezTo>
                    <a:cubicBezTo>
                      <a:pt x="500" y="30"/>
                      <a:pt x="500" y="30"/>
                      <a:pt x="500" y="30"/>
                    </a:cubicBezTo>
                    <a:cubicBezTo>
                      <a:pt x="500" y="14"/>
                      <a:pt x="490" y="0"/>
                      <a:pt x="47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0" name="Freeform 63"/>
              <p:cNvSpPr>
                <a:spLocks/>
              </p:cNvSpPr>
              <p:nvPr/>
            </p:nvSpPr>
            <p:spPr bwMode="auto">
              <a:xfrm>
                <a:off x="13738581" y="-1491052"/>
                <a:ext cx="550030" cy="73186"/>
              </a:xfrm>
              <a:custGeom>
                <a:avLst/>
                <a:gdLst>
                  <a:gd name="T0" fmla="*/ 490 w 512"/>
                  <a:gd name="T1" fmla="*/ 0 h 68"/>
                  <a:gd name="T2" fmla="*/ 21 w 512"/>
                  <a:gd name="T3" fmla="*/ 0 h 68"/>
                  <a:gd name="T4" fmla="*/ 0 w 512"/>
                  <a:gd name="T5" fmla="*/ 30 h 68"/>
                  <a:gd name="T6" fmla="*/ 0 w 512"/>
                  <a:gd name="T7" fmla="*/ 38 h 68"/>
                  <a:gd name="T8" fmla="*/ 21 w 512"/>
                  <a:gd name="T9" fmla="*/ 68 h 68"/>
                  <a:gd name="T10" fmla="*/ 490 w 512"/>
                  <a:gd name="T11" fmla="*/ 68 h 68"/>
                  <a:gd name="T12" fmla="*/ 512 w 512"/>
                  <a:gd name="T13" fmla="*/ 38 h 68"/>
                  <a:gd name="T14" fmla="*/ 512 w 512"/>
                  <a:gd name="T15" fmla="*/ 30 h 68"/>
                  <a:gd name="T16" fmla="*/ 490 w 512"/>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68">
                    <a:moveTo>
                      <a:pt x="490" y="0"/>
                    </a:moveTo>
                    <a:cubicBezTo>
                      <a:pt x="21" y="0"/>
                      <a:pt x="21" y="0"/>
                      <a:pt x="21" y="0"/>
                    </a:cubicBezTo>
                    <a:cubicBezTo>
                      <a:pt x="9" y="0"/>
                      <a:pt x="0" y="14"/>
                      <a:pt x="0" y="30"/>
                    </a:cubicBezTo>
                    <a:cubicBezTo>
                      <a:pt x="0" y="38"/>
                      <a:pt x="0" y="38"/>
                      <a:pt x="0" y="38"/>
                    </a:cubicBezTo>
                    <a:cubicBezTo>
                      <a:pt x="0" y="54"/>
                      <a:pt x="9" y="68"/>
                      <a:pt x="21" y="68"/>
                    </a:cubicBezTo>
                    <a:cubicBezTo>
                      <a:pt x="490" y="68"/>
                      <a:pt x="490" y="68"/>
                      <a:pt x="490" y="68"/>
                    </a:cubicBezTo>
                    <a:cubicBezTo>
                      <a:pt x="502" y="68"/>
                      <a:pt x="512" y="54"/>
                      <a:pt x="512" y="38"/>
                    </a:cubicBezTo>
                    <a:cubicBezTo>
                      <a:pt x="512" y="30"/>
                      <a:pt x="512" y="30"/>
                      <a:pt x="512" y="30"/>
                    </a:cubicBezTo>
                    <a:cubicBezTo>
                      <a:pt x="512" y="14"/>
                      <a:pt x="502" y="0"/>
                      <a:pt x="49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1" name="Freeform 64"/>
              <p:cNvSpPr>
                <a:spLocks/>
              </p:cNvSpPr>
              <p:nvPr/>
            </p:nvSpPr>
            <p:spPr bwMode="auto">
              <a:xfrm>
                <a:off x="13738581" y="-1344680"/>
                <a:ext cx="459571" cy="72731"/>
              </a:xfrm>
              <a:custGeom>
                <a:avLst/>
                <a:gdLst>
                  <a:gd name="T0" fmla="*/ 406 w 428"/>
                  <a:gd name="T1" fmla="*/ 0 h 68"/>
                  <a:gd name="T2" fmla="*/ 21 w 428"/>
                  <a:gd name="T3" fmla="*/ 0 h 68"/>
                  <a:gd name="T4" fmla="*/ 0 w 428"/>
                  <a:gd name="T5" fmla="*/ 30 h 68"/>
                  <a:gd name="T6" fmla="*/ 0 w 428"/>
                  <a:gd name="T7" fmla="*/ 38 h 68"/>
                  <a:gd name="T8" fmla="*/ 21 w 428"/>
                  <a:gd name="T9" fmla="*/ 68 h 68"/>
                  <a:gd name="T10" fmla="*/ 406 w 428"/>
                  <a:gd name="T11" fmla="*/ 68 h 68"/>
                  <a:gd name="T12" fmla="*/ 428 w 428"/>
                  <a:gd name="T13" fmla="*/ 38 h 68"/>
                  <a:gd name="T14" fmla="*/ 428 w 428"/>
                  <a:gd name="T15" fmla="*/ 30 h 68"/>
                  <a:gd name="T16" fmla="*/ 406 w 428"/>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68">
                    <a:moveTo>
                      <a:pt x="406" y="0"/>
                    </a:moveTo>
                    <a:cubicBezTo>
                      <a:pt x="21" y="0"/>
                      <a:pt x="21" y="0"/>
                      <a:pt x="21" y="0"/>
                    </a:cubicBezTo>
                    <a:cubicBezTo>
                      <a:pt x="9" y="0"/>
                      <a:pt x="0" y="14"/>
                      <a:pt x="0" y="30"/>
                    </a:cubicBezTo>
                    <a:cubicBezTo>
                      <a:pt x="0" y="38"/>
                      <a:pt x="0" y="38"/>
                      <a:pt x="0" y="38"/>
                    </a:cubicBezTo>
                    <a:cubicBezTo>
                      <a:pt x="0" y="54"/>
                      <a:pt x="9" y="68"/>
                      <a:pt x="21" y="68"/>
                    </a:cubicBezTo>
                    <a:cubicBezTo>
                      <a:pt x="406" y="68"/>
                      <a:pt x="406" y="68"/>
                      <a:pt x="406" y="68"/>
                    </a:cubicBezTo>
                    <a:cubicBezTo>
                      <a:pt x="418" y="68"/>
                      <a:pt x="428" y="54"/>
                      <a:pt x="428" y="38"/>
                    </a:cubicBezTo>
                    <a:cubicBezTo>
                      <a:pt x="428" y="30"/>
                      <a:pt x="428" y="30"/>
                      <a:pt x="428" y="30"/>
                    </a:cubicBezTo>
                    <a:cubicBezTo>
                      <a:pt x="428" y="14"/>
                      <a:pt x="418" y="0"/>
                      <a:pt x="40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2" name="Freeform 65"/>
              <p:cNvSpPr>
                <a:spLocks/>
              </p:cNvSpPr>
              <p:nvPr/>
            </p:nvSpPr>
            <p:spPr bwMode="auto">
              <a:xfrm>
                <a:off x="13738581" y="-1198763"/>
                <a:ext cx="515483" cy="73186"/>
              </a:xfrm>
              <a:custGeom>
                <a:avLst/>
                <a:gdLst>
                  <a:gd name="T0" fmla="*/ 458 w 480"/>
                  <a:gd name="T1" fmla="*/ 0 h 68"/>
                  <a:gd name="T2" fmla="*/ 21 w 480"/>
                  <a:gd name="T3" fmla="*/ 0 h 68"/>
                  <a:gd name="T4" fmla="*/ 0 w 480"/>
                  <a:gd name="T5" fmla="*/ 30 h 68"/>
                  <a:gd name="T6" fmla="*/ 0 w 480"/>
                  <a:gd name="T7" fmla="*/ 38 h 68"/>
                  <a:gd name="T8" fmla="*/ 21 w 480"/>
                  <a:gd name="T9" fmla="*/ 68 h 68"/>
                  <a:gd name="T10" fmla="*/ 458 w 480"/>
                  <a:gd name="T11" fmla="*/ 68 h 68"/>
                  <a:gd name="T12" fmla="*/ 480 w 480"/>
                  <a:gd name="T13" fmla="*/ 38 h 68"/>
                  <a:gd name="T14" fmla="*/ 480 w 480"/>
                  <a:gd name="T15" fmla="*/ 30 h 68"/>
                  <a:gd name="T16" fmla="*/ 458 w 480"/>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68">
                    <a:moveTo>
                      <a:pt x="458" y="0"/>
                    </a:moveTo>
                    <a:cubicBezTo>
                      <a:pt x="21" y="0"/>
                      <a:pt x="21" y="0"/>
                      <a:pt x="21" y="0"/>
                    </a:cubicBezTo>
                    <a:cubicBezTo>
                      <a:pt x="9" y="0"/>
                      <a:pt x="0" y="14"/>
                      <a:pt x="0" y="30"/>
                    </a:cubicBezTo>
                    <a:cubicBezTo>
                      <a:pt x="0" y="38"/>
                      <a:pt x="0" y="38"/>
                      <a:pt x="0" y="38"/>
                    </a:cubicBezTo>
                    <a:cubicBezTo>
                      <a:pt x="0" y="54"/>
                      <a:pt x="9" y="68"/>
                      <a:pt x="21" y="68"/>
                    </a:cubicBezTo>
                    <a:cubicBezTo>
                      <a:pt x="458" y="68"/>
                      <a:pt x="458" y="68"/>
                      <a:pt x="458" y="68"/>
                    </a:cubicBezTo>
                    <a:cubicBezTo>
                      <a:pt x="470" y="68"/>
                      <a:pt x="480" y="54"/>
                      <a:pt x="480" y="38"/>
                    </a:cubicBezTo>
                    <a:cubicBezTo>
                      <a:pt x="480" y="30"/>
                      <a:pt x="480" y="30"/>
                      <a:pt x="480" y="30"/>
                    </a:cubicBezTo>
                    <a:cubicBezTo>
                      <a:pt x="480" y="14"/>
                      <a:pt x="470" y="0"/>
                      <a:pt x="45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3" name="Oval 56"/>
              <p:cNvSpPr>
                <a:spLocks noChangeArrowheads="1"/>
              </p:cNvSpPr>
              <p:nvPr/>
            </p:nvSpPr>
            <p:spPr bwMode="auto">
              <a:xfrm>
                <a:off x="13600846" y="-1037446"/>
                <a:ext cx="73186" cy="731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4" name="Oval 57"/>
              <p:cNvSpPr>
                <a:spLocks noChangeArrowheads="1"/>
              </p:cNvSpPr>
              <p:nvPr/>
            </p:nvSpPr>
            <p:spPr bwMode="auto">
              <a:xfrm>
                <a:off x="13600846" y="-891529"/>
                <a:ext cx="73186" cy="731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5" name="Oval 58"/>
              <p:cNvSpPr>
                <a:spLocks noChangeArrowheads="1"/>
              </p:cNvSpPr>
              <p:nvPr/>
            </p:nvSpPr>
            <p:spPr bwMode="auto">
              <a:xfrm>
                <a:off x="13600846" y="-745157"/>
                <a:ext cx="73186" cy="7273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6" name="Oval 59"/>
              <p:cNvSpPr>
                <a:spLocks noChangeArrowheads="1"/>
              </p:cNvSpPr>
              <p:nvPr/>
            </p:nvSpPr>
            <p:spPr bwMode="auto">
              <a:xfrm>
                <a:off x="13600846" y="-891529"/>
                <a:ext cx="73186" cy="731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7" name="Oval 60"/>
              <p:cNvSpPr>
                <a:spLocks noChangeArrowheads="1"/>
              </p:cNvSpPr>
              <p:nvPr/>
            </p:nvSpPr>
            <p:spPr bwMode="auto">
              <a:xfrm>
                <a:off x="13600846" y="-745157"/>
                <a:ext cx="73186" cy="7273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8" name="Oval 61"/>
              <p:cNvSpPr>
                <a:spLocks noChangeArrowheads="1"/>
              </p:cNvSpPr>
              <p:nvPr/>
            </p:nvSpPr>
            <p:spPr bwMode="auto">
              <a:xfrm>
                <a:off x="13600846" y="-599240"/>
                <a:ext cx="73186" cy="731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9" name="Freeform 62"/>
              <p:cNvSpPr>
                <a:spLocks/>
              </p:cNvSpPr>
              <p:nvPr/>
            </p:nvSpPr>
            <p:spPr bwMode="auto">
              <a:xfrm>
                <a:off x="13738581" y="-1037446"/>
                <a:ext cx="536848" cy="73186"/>
              </a:xfrm>
              <a:custGeom>
                <a:avLst/>
                <a:gdLst>
                  <a:gd name="T0" fmla="*/ 478 w 500"/>
                  <a:gd name="T1" fmla="*/ 0 h 68"/>
                  <a:gd name="T2" fmla="*/ 21 w 500"/>
                  <a:gd name="T3" fmla="*/ 0 h 68"/>
                  <a:gd name="T4" fmla="*/ 0 w 500"/>
                  <a:gd name="T5" fmla="*/ 30 h 68"/>
                  <a:gd name="T6" fmla="*/ 0 w 500"/>
                  <a:gd name="T7" fmla="*/ 38 h 68"/>
                  <a:gd name="T8" fmla="*/ 21 w 500"/>
                  <a:gd name="T9" fmla="*/ 68 h 68"/>
                  <a:gd name="T10" fmla="*/ 478 w 500"/>
                  <a:gd name="T11" fmla="*/ 68 h 68"/>
                  <a:gd name="T12" fmla="*/ 500 w 500"/>
                  <a:gd name="T13" fmla="*/ 38 h 68"/>
                  <a:gd name="T14" fmla="*/ 500 w 500"/>
                  <a:gd name="T15" fmla="*/ 30 h 68"/>
                  <a:gd name="T16" fmla="*/ 478 w 500"/>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0" h="68">
                    <a:moveTo>
                      <a:pt x="478" y="0"/>
                    </a:moveTo>
                    <a:cubicBezTo>
                      <a:pt x="21" y="0"/>
                      <a:pt x="21" y="0"/>
                      <a:pt x="21" y="0"/>
                    </a:cubicBezTo>
                    <a:cubicBezTo>
                      <a:pt x="9" y="0"/>
                      <a:pt x="0" y="14"/>
                      <a:pt x="0" y="30"/>
                    </a:cubicBezTo>
                    <a:cubicBezTo>
                      <a:pt x="0" y="38"/>
                      <a:pt x="0" y="38"/>
                      <a:pt x="0" y="38"/>
                    </a:cubicBezTo>
                    <a:cubicBezTo>
                      <a:pt x="0" y="54"/>
                      <a:pt x="9" y="68"/>
                      <a:pt x="21" y="68"/>
                    </a:cubicBezTo>
                    <a:cubicBezTo>
                      <a:pt x="478" y="68"/>
                      <a:pt x="478" y="68"/>
                      <a:pt x="478" y="68"/>
                    </a:cubicBezTo>
                    <a:cubicBezTo>
                      <a:pt x="490" y="68"/>
                      <a:pt x="500" y="54"/>
                      <a:pt x="500" y="38"/>
                    </a:cubicBezTo>
                    <a:cubicBezTo>
                      <a:pt x="500" y="30"/>
                      <a:pt x="500" y="30"/>
                      <a:pt x="500" y="30"/>
                    </a:cubicBezTo>
                    <a:cubicBezTo>
                      <a:pt x="500" y="14"/>
                      <a:pt x="490" y="0"/>
                      <a:pt x="47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0" name="Freeform 63"/>
              <p:cNvSpPr>
                <a:spLocks/>
              </p:cNvSpPr>
              <p:nvPr/>
            </p:nvSpPr>
            <p:spPr bwMode="auto">
              <a:xfrm>
                <a:off x="13738581" y="-891529"/>
                <a:ext cx="550030" cy="73186"/>
              </a:xfrm>
              <a:custGeom>
                <a:avLst/>
                <a:gdLst>
                  <a:gd name="T0" fmla="*/ 490 w 512"/>
                  <a:gd name="T1" fmla="*/ 0 h 68"/>
                  <a:gd name="T2" fmla="*/ 21 w 512"/>
                  <a:gd name="T3" fmla="*/ 0 h 68"/>
                  <a:gd name="T4" fmla="*/ 0 w 512"/>
                  <a:gd name="T5" fmla="*/ 30 h 68"/>
                  <a:gd name="T6" fmla="*/ 0 w 512"/>
                  <a:gd name="T7" fmla="*/ 38 h 68"/>
                  <a:gd name="T8" fmla="*/ 21 w 512"/>
                  <a:gd name="T9" fmla="*/ 68 h 68"/>
                  <a:gd name="T10" fmla="*/ 490 w 512"/>
                  <a:gd name="T11" fmla="*/ 68 h 68"/>
                  <a:gd name="T12" fmla="*/ 512 w 512"/>
                  <a:gd name="T13" fmla="*/ 38 h 68"/>
                  <a:gd name="T14" fmla="*/ 512 w 512"/>
                  <a:gd name="T15" fmla="*/ 30 h 68"/>
                  <a:gd name="T16" fmla="*/ 490 w 512"/>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68">
                    <a:moveTo>
                      <a:pt x="490" y="0"/>
                    </a:moveTo>
                    <a:cubicBezTo>
                      <a:pt x="21" y="0"/>
                      <a:pt x="21" y="0"/>
                      <a:pt x="21" y="0"/>
                    </a:cubicBezTo>
                    <a:cubicBezTo>
                      <a:pt x="9" y="0"/>
                      <a:pt x="0" y="14"/>
                      <a:pt x="0" y="30"/>
                    </a:cubicBezTo>
                    <a:cubicBezTo>
                      <a:pt x="0" y="38"/>
                      <a:pt x="0" y="38"/>
                      <a:pt x="0" y="38"/>
                    </a:cubicBezTo>
                    <a:cubicBezTo>
                      <a:pt x="0" y="54"/>
                      <a:pt x="9" y="68"/>
                      <a:pt x="21" y="68"/>
                    </a:cubicBezTo>
                    <a:cubicBezTo>
                      <a:pt x="490" y="68"/>
                      <a:pt x="490" y="68"/>
                      <a:pt x="490" y="68"/>
                    </a:cubicBezTo>
                    <a:cubicBezTo>
                      <a:pt x="502" y="68"/>
                      <a:pt x="512" y="54"/>
                      <a:pt x="512" y="38"/>
                    </a:cubicBezTo>
                    <a:cubicBezTo>
                      <a:pt x="512" y="30"/>
                      <a:pt x="512" y="30"/>
                      <a:pt x="512" y="30"/>
                    </a:cubicBezTo>
                    <a:cubicBezTo>
                      <a:pt x="512" y="14"/>
                      <a:pt x="502" y="0"/>
                      <a:pt x="49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1" name="Freeform 64"/>
              <p:cNvSpPr>
                <a:spLocks/>
              </p:cNvSpPr>
              <p:nvPr/>
            </p:nvSpPr>
            <p:spPr bwMode="auto">
              <a:xfrm>
                <a:off x="13738581" y="-745157"/>
                <a:ext cx="459571" cy="72731"/>
              </a:xfrm>
              <a:custGeom>
                <a:avLst/>
                <a:gdLst>
                  <a:gd name="T0" fmla="*/ 406 w 428"/>
                  <a:gd name="T1" fmla="*/ 0 h 68"/>
                  <a:gd name="T2" fmla="*/ 21 w 428"/>
                  <a:gd name="T3" fmla="*/ 0 h 68"/>
                  <a:gd name="T4" fmla="*/ 0 w 428"/>
                  <a:gd name="T5" fmla="*/ 30 h 68"/>
                  <a:gd name="T6" fmla="*/ 0 w 428"/>
                  <a:gd name="T7" fmla="*/ 38 h 68"/>
                  <a:gd name="T8" fmla="*/ 21 w 428"/>
                  <a:gd name="T9" fmla="*/ 68 h 68"/>
                  <a:gd name="T10" fmla="*/ 406 w 428"/>
                  <a:gd name="T11" fmla="*/ 68 h 68"/>
                  <a:gd name="T12" fmla="*/ 428 w 428"/>
                  <a:gd name="T13" fmla="*/ 38 h 68"/>
                  <a:gd name="T14" fmla="*/ 428 w 428"/>
                  <a:gd name="T15" fmla="*/ 30 h 68"/>
                  <a:gd name="T16" fmla="*/ 406 w 428"/>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68">
                    <a:moveTo>
                      <a:pt x="406" y="0"/>
                    </a:moveTo>
                    <a:cubicBezTo>
                      <a:pt x="21" y="0"/>
                      <a:pt x="21" y="0"/>
                      <a:pt x="21" y="0"/>
                    </a:cubicBezTo>
                    <a:cubicBezTo>
                      <a:pt x="9" y="0"/>
                      <a:pt x="0" y="14"/>
                      <a:pt x="0" y="30"/>
                    </a:cubicBezTo>
                    <a:cubicBezTo>
                      <a:pt x="0" y="38"/>
                      <a:pt x="0" y="38"/>
                      <a:pt x="0" y="38"/>
                    </a:cubicBezTo>
                    <a:cubicBezTo>
                      <a:pt x="0" y="54"/>
                      <a:pt x="9" y="68"/>
                      <a:pt x="21" y="68"/>
                    </a:cubicBezTo>
                    <a:cubicBezTo>
                      <a:pt x="406" y="68"/>
                      <a:pt x="406" y="68"/>
                      <a:pt x="406" y="68"/>
                    </a:cubicBezTo>
                    <a:cubicBezTo>
                      <a:pt x="418" y="68"/>
                      <a:pt x="428" y="54"/>
                      <a:pt x="428" y="38"/>
                    </a:cubicBezTo>
                    <a:cubicBezTo>
                      <a:pt x="428" y="30"/>
                      <a:pt x="428" y="30"/>
                      <a:pt x="428" y="30"/>
                    </a:cubicBezTo>
                    <a:cubicBezTo>
                      <a:pt x="428" y="14"/>
                      <a:pt x="418" y="0"/>
                      <a:pt x="406"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2" name="Freeform 65"/>
              <p:cNvSpPr>
                <a:spLocks/>
              </p:cNvSpPr>
              <p:nvPr/>
            </p:nvSpPr>
            <p:spPr bwMode="auto">
              <a:xfrm>
                <a:off x="13738581" y="-599240"/>
                <a:ext cx="515483" cy="73186"/>
              </a:xfrm>
              <a:custGeom>
                <a:avLst/>
                <a:gdLst>
                  <a:gd name="T0" fmla="*/ 458 w 480"/>
                  <a:gd name="T1" fmla="*/ 0 h 68"/>
                  <a:gd name="T2" fmla="*/ 21 w 480"/>
                  <a:gd name="T3" fmla="*/ 0 h 68"/>
                  <a:gd name="T4" fmla="*/ 0 w 480"/>
                  <a:gd name="T5" fmla="*/ 30 h 68"/>
                  <a:gd name="T6" fmla="*/ 0 w 480"/>
                  <a:gd name="T7" fmla="*/ 38 h 68"/>
                  <a:gd name="T8" fmla="*/ 21 w 480"/>
                  <a:gd name="T9" fmla="*/ 68 h 68"/>
                  <a:gd name="T10" fmla="*/ 458 w 480"/>
                  <a:gd name="T11" fmla="*/ 68 h 68"/>
                  <a:gd name="T12" fmla="*/ 480 w 480"/>
                  <a:gd name="T13" fmla="*/ 38 h 68"/>
                  <a:gd name="T14" fmla="*/ 480 w 480"/>
                  <a:gd name="T15" fmla="*/ 30 h 68"/>
                  <a:gd name="T16" fmla="*/ 458 w 480"/>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0" h="68">
                    <a:moveTo>
                      <a:pt x="458" y="0"/>
                    </a:moveTo>
                    <a:cubicBezTo>
                      <a:pt x="21" y="0"/>
                      <a:pt x="21" y="0"/>
                      <a:pt x="21" y="0"/>
                    </a:cubicBezTo>
                    <a:cubicBezTo>
                      <a:pt x="9" y="0"/>
                      <a:pt x="0" y="14"/>
                      <a:pt x="0" y="30"/>
                    </a:cubicBezTo>
                    <a:cubicBezTo>
                      <a:pt x="0" y="38"/>
                      <a:pt x="0" y="38"/>
                      <a:pt x="0" y="38"/>
                    </a:cubicBezTo>
                    <a:cubicBezTo>
                      <a:pt x="0" y="54"/>
                      <a:pt x="9" y="68"/>
                      <a:pt x="21" y="68"/>
                    </a:cubicBezTo>
                    <a:cubicBezTo>
                      <a:pt x="458" y="68"/>
                      <a:pt x="458" y="68"/>
                      <a:pt x="458" y="68"/>
                    </a:cubicBezTo>
                    <a:cubicBezTo>
                      <a:pt x="470" y="68"/>
                      <a:pt x="480" y="54"/>
                      <a:pt x="480" y="38"/>
                    </a:cubicBezTo>
                    <a:cubicBezTo>
                      <a:pt x="480" y="30"/>
                      <a:pt x="480" y="30"/>
                      <a:pt x="480" y="30"/>
                    </a:cubicBezTo>
                    <a:cubicBezTo>
                      <a:pt x="480" y="14"/>
                      <a:pt x="470" y="0"/>
                      <a:pt x="458"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sp>
        <p:nvSpPr>
          <p:cNvPr id="63" name="Rectangle 166"/>
          <p:cNvSpPr>
            <a:spLocks noChangeArrowheads="1"/>
          </p:cNvSpPr>
          <p:nvPr/>
        </p:nvSpPr>
        <p:spPr bwMode="auto">
          <a:xfrm>
            <a:off x="6785917" y="3854326"/>
            <a:ext cx="2615592" cy="246916"/>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Rectangle 167"/>
          <p:cNvSpPr>
            <a:spLocks noChangeArrowheads="1"/>
          </p:cNvSpPr>
          <p:nvPr/>
        </p:nvSpPr>
        <p:spPr bwMode="auto">
          <a:xfrm>
            <a:off x="8669372" y="4101243"/>
            <a:ext cx="246916" cy="17111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168"/>
          <p:cNvSpPr>
            <a:spLocks/>
          </p:cNvSpPr>
          <p:nvPr/>
        </p:nvSpPr>
        <p:spPr bwMode="auto">
          <a:xfrm>
            <a:off x="8669372" y="4101243"/>
            <a:ext cx="246916" cy="318695"/>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Rectangle 169"/>
          <p:cNvSpPr>
            <a:spLocks noChangeArrowheads="1"/>
          </p:cNvSpPr>
          <p:nvPr/>
        </p:nvSpPr>
        <p:spPr bwMode="auto">
          <a:xfrm>
            <a:off x="10036025" y="4101243"/>
            <a:ext cx="246916" cy="171118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170"/>
          <p:cNvSpPr>
            <a:spLocks/>
          </p:cNvSpPr>
          <p:nvPr/>
        </p:nvSpPr>
        <p:spPr bwMode="auto">
          <a:xfrm>
            <a:off x="10036025" y="4101243"/>
            <a:ext cx="246916" cy="318695"/>
          </a:xfrm>
          <a:custGeom>
            <a:avLst/>
            <a:gdLst>
              <a:gd name="T0" fmla="*/ 86 w 86"/>
              <a:gd name="T1" fmla="*/ 111 h 111"/>
              <a:gd name="T2" fmla="*/ 0 w 86"/>
              <a:gd name="T3" fmla="*/ 50 h 111"/>
              <a:gd name="T4" fmla="*/ 0 w 86"/>
              <a:gd name="T5" fmla="*/ 0 h 111"/>
              <a:gd name="T6" fmla="*/ 86 w 86"/>
              <a:gd name="T7" fmla="*/ 0 h 111"/>
              <a:gd name="T8" fmla="*/ 86 w 86"/>
              <a:gd name="T9" fmla="*/ 111 h 111"/>
            </a:gdLst>
            <a:ahLst/>
            <a:cxnLst>
              <a:cxn ang="0">
                <a:pos x="T0" y="T1"/>
              </a:cxn>
              <a:cxn ang="0">
                <a:pos x="T2" y="T3"/>
              </a:cxn>
              <a:cxn ang="0">
                <a:pos x="T4" y="T5"/>
              </a:cxn>
              <a:cxn ang="0">
                <a:pos x="T6" y="T7"/>
              </a:cxn>
              <a:cxn ang="0">
                <a:pos x="T8" y="T9"/>
              </a:cxn>
            </a:cxnLst>
            <a:rect l="0" t="0" r="r" b="b"/>
            <a:pathLst>
              <a:path w="86" h="111">
                <a:moveTo>
                  <a:pt x="86" y="111"/>
                </a:moveTo>
                <a:lnTo>
                  <a:pt x="0" y="50"/>
                </a:lnTo>
                <a:lnTo>
                  <a:pt x="0" y="0"/>
                </a:lnTo>
                <a:lnTo>
                  <a:pt x="86" y="0"/>
                </a:lnTo>
                <a:lnTo>
                  <a:pt x="86"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Rectangle 171"/>
          <p:cNvSpPr>
            <a:spLocks noChangeArrowheads="1"/>
          </p:cNvSpPr>
          <p:nvPr/>
        </p:nvSpPr>
        <p:spPr bwMode="auto">
          <a:xfrm>
            <a:off x="6946700" y="4101243"/>
            <a:ext cx="238304" cy="171118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172"/>
          <p:cNvSpPr>
            <a:spLocks/>
          </p:cNvSpPr>
          <p:nvPr/>
        </p:nvSpPr>
        <p:spPr bwMode="auto">
          <a:xfrm>
            <a:off x="6946700" y="4101243"/>
            <a:ext cx="238304" cy="318695"/>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Rectangle 173"/>
          <p:cNvSpPr>
            <a:spLocks noChangeArrowheads="1"/>
          </p:cNvSpPr>
          <p:nvPr/>
        </p:nvSpPr>
        <p:spPr bwMode="auto">
          <a:xfrm>
            <a:off x="8161183" y="4101243"/>
            <a:ext cx="238304" cy="1711187"/>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174"/>
          <p:cNvSpPr>
            <a:spLocks/>
          </p:cNvSpPr>
          <p:nvPr/>
        </p:nvSpPr>
        <p:spPr bwMode="auto">
          <a:xfrm>
            <a:off x="8161183" y="4101243"/>
            <a:ext cx="238304" cy="318695"/>
          </a:xfrm>
          <a:custGeom>
            <a:avLst/>
            <a:gdLst>
              <a:gd name="T0" fmla="*/ 83 w 83"/>
              <a:gd name="T1" fmla="*/ 111 h 111"/>
              <a:gd name="T2" fmla="*/ 0 w 83"/>
              <a:gd name="T3" fmla="*/ 50 h 111"/>
              <a:gd name="T4" fmla="*/ 0 w 83"/>
              <a:gd name="T5" fmla="*/ 0 h 111"/>
              <a:gd name="T6" fmla="*/ 83 w 83"/>
              <a:gd name="T7" fmla="*/ 0 h 111"/>
              <a:gd name="T8" fmla="*/ 83 w 83"/>
              <a:gd name="T9" fmla="*/ 111 h 111"/>
            </a:gdLst>
            <a:ahLst/>
            <a:cxnLst>
              <a:cxn ang="0">
                <a:pos x="T0" y="T1"/>
              </a:cxn>
              <a:cxn ang="0">
                <a:pos x="T2" y="T3"/>
              </a:cxn>
              <a:cxn ang="0">
                <a:pos x="T4" y="T5"/>
              </a:cxn>
              <a:cxn ang="0">
                <a:pos x="T6" y="T7"/>
              </a:cxn>
              <a:cxn ang="0">
                <a:pos x="T8" y="T9"/>
              </a:cxn>
            </a:cxnLst>
            <a:rect l="0" t="0" r="r" b="b"/>
            <a:pathLst>
              <a:path w="83" h="111">
                <a:moveTo>
                  <a:pt x="83" y="111"/>
                </a:moveTo>
                <a:lnTo>
                  <a:pt x="0" y="50"/>
                </a:lnTo>
                <a:lnTo>
                  <a:pt x="0" y="0"/>
                </a:lnTo>
                <a:lnTo>
                  <a:pt x="83" y="0"/>
                </a:lnTo>
                <a:lnTo>
                  <a:pt x="83" y="1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215"/>
          <p:cNvSpPr>
            <a:spLocks/>
          </p:cNvSpPr>
          <p:nvPr/>
        </p:nvSpPr>
        <p:spPr bwMode="auto">
          <a:xfrm>
            <a:off x="7429048" y="3593056"/>
            <a:ext cx="120587" cy="261273"/>
          </a:xfrm>
          <a:custGeom>
            <a:avLst/>
            <a:gdLst>
              <a:gd name="T0" fmla="*/ 2 w 15"/>
              <a:gd name="T1" fmla="*/ 0 h 33"/>
              <a:gd name="T2" fmla="*/ 0 w 15"/>
              <a:gd name="T3" fmla="*/ 16 h 33"/>
              <a:gd name="T4" fmla="*/ 12 w 15"/>
              <a:gd name="T5" fmla="*/ 32 h 33"/>
              <a:gd name="T6" fmla="*/ 14 w 15"/>
              <a:gd name="T7" fmla="*/ 32 h 33"/>
              <a:gd name="T8" fmla="*/ 2 w 15"/>
              <a:gd name="T9" fmla="*/ 0 h 33"/>
            </a:gdLst>
            <a:ahLst/>
            <a:cxnLst>
              <a:cxn ang="0">
                <a:pos x="T0" y="T1"/>
              </a:cxn>
              <a:cxn ang="0">
                <a:pos x="T2" y="T3"/>
              </a:cxn>
              <a:cxn ang="0">
                <a:pos x="T4" y="T5"/>
              </a:cxn>
              <a:cxn ang="0">
                <a:pos x="T6" y="T7"/>
              </a:cxn>
              <a:cxn ang="0">
                <a:pos x="T8" y="T9"/>
              </a:cxn>
            </a:cxnLst>
            <a:rect l="0" t="0" r="r" b="b"/>
            <a:pathLst>
              <a:path w="15" h="33">
                <a:moveTo>
                  <a:pt x="2" y="0"/>
                </a:moveTo>
                <a:cubicBezTo>
                  <a:pt x="2" y="5"/>
                  <a:pt x="2" y="10"/>
                  <a:pt x="0" y="16"/>
                </a:cubicBezTo>
                <a:cubicBezTo>
                  <a:pt x="9" y="17"/>
                  <a:pt x="12" y="31"/>
                  <a:pt x="12" y="32"/>
                </a:cubicBezTo>
                <a:cubicBezTo>
                  <a:pt x="12" y="33"/>
                  <a:pt x="14" y="33"/>
                  <a:pt x="14" y="32"/>
                </a:cubicBezTo>
                <a:cubicBezTo>
                  <a:pt x="15" y="10"/>
                  <a:pt x="4" y="1"/>
                  <a:pt x="2"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216"/>
          <p:cNvSpPr>
            <a:spLocks/>
          </p:cNvSpPr>
          <p:nvPr/>
        </p:nvSpPr>
        <p:spPr bwMode="auto">
          <a:xfrm>
            <a:off x="7095998" y="3593056"/>
            <a:ext cx="120587" cy="261273"/>
          </a:xfrm>
          <a:custGeom>
            <a:avLst/>
            <a:gdLst>
              <a:gd name="T0" fmla="*/ 13 w 15"/>
              <a:gd name="T1" fmla="*/ 0 h 33"/>
              <a:gd name="T2" fmla="*/ 1 w 15"/>
              <a:gd name="T3" fmla="*/ 32 h 33"/>
              <a:gd name="T4" fmla="*/ 3 w 15"/>
              <a:gd name="T5" fmla="*/ 32 h 33"/>
              <a:gd name="T6" fmla="*/ 15 w 15"/>
              <a:gd name="T7" fmla="*/ 16 h 33"/>
              <a:gd name="T8" fmla="*/ 13 w 15"/>
              <a:gd name="T9" fmla="*/ 0 h 33"/>
            </a:gdLst>
            <a:ahLst/>
            <a:cxnLst>
              <a:cxn ang="0">
                <a:pos x="T0" y="T1"/>
              </a:cxn>
              <a:cxn ang="0">
                <a:pos x="T2" y="T3"/>
              </a:cxn>
              <a:cxn ang="0">
                <a:pos x="T4" y="T5"/>
              </a:cxn>
              <a:cxn ang="0">
                <a:pos x="T6" y="T7"/>
              </a:cxn>
              <a:cxn ang="0">
                <a:pos x="T8" y="T9"/>
              </a:cxn>
            </a:cxnLst>
            <a:rect l="0" t="0" r="r" b="b"/>
            <a:pathLst>
              <a:path w="15" h="33">
                <a:moveTo>
                  <a:pt x="13" y="0"/>
                </a:moveTo>
                <a:cubicBezTo>
                  <a:pt x="10" y="2"/>
                  <a:pt x="0" y="11"/>
                  <a:pt x="1" y="32"/>
                </a:cubicBezTo>
                <a:cubicBezTo>
                  <a:pt x="1" y="33"/>
                  <a:pt x="3" y="33"/>
                  <a:pt x="3" y="32"/>
                </a:cubicBezTo>
                <a:cubicBezTo>
                  <a:pt x="4" y="31"/>
                  <a:pt x="6" y="17"/>
                  <a:pt x="15" y="16"/>
                </a:cubicBezTo>
                <a:cubicBezTo>
                  <a:pt x="13" y="10"/>
                  <a:pt x="13" y="5"/>
                  <a:pt x="1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217"/>
          <p:cNvSpPr>
            <a:spLocks/>
          </p:cNvSpPr>
          <p:nvPr/>
        </p:nvSpPr>
        <p:spPr bwMode="auto">
          <a:xfrm>
            <a:off x="7302719" y="3584441"/>
            <a:ext cx="40196" cy="269885"/>
          </a:xfrm>
          <a:custGeom>
            <a:avLst/>
            <a:gdLst>
              <a:gd name="T0" fmla="*/ 3 w 5"/>
              <a:gd name="T1" fmla="*/ 0 h 34"/>
              <a:gd name="T2" fmla="*/ 3 w 5"/>
              <a:gd name="T3" fmla="*/ 0 h 34"/>
              <a:gd name="T4" fmla="*/ 3 w 5"/>
              <a:gd name="T5" fmla="*/ 0 h 34"/>
              <a:gd name="T6" fmla="*/ 3 w 5"/>
              <a:gd name="T7" fmla="*/ 0 h 34"/>
              <a:gd name="T8" fmla="*/ 3 w 5"/>
              <a:gd name="T9" fmla="*/ 0 h 34"/>
              <a:gd name="T10" fmla="*/ 1 w 5"/>
              <a:gd name="T11" fmla="*/ 2 h 34"/>
              <a:gd name="T12" fmla="*/ 1 w 5"/>
              <a:gd name="T13" fmla="*/ 31 h 34"/>
              <a:gd name="T14" fmla="*/ 3 w 5"/>
              <a:gd name="T15" fmla="*/ 34 h 34"/>
              <a:gd name="T16" fmla="*/ 3 w 5"/>
              <a:gd name="T17" fmla="*/ 34 h 34"/>
              <a:gd name="T18" fmla="*/ 3 w 5"/>
              <a:gd name="T19" fmla="*/ 34 h 34"/>
              <a:gd name="T20" fmla="*/ 3 w 5"/>
              <a:gd name="T21" fmla="*/ 34 h 34"/>
              <a:gd name="T22" fmla="*/ 3 w 5"/>
              <a:gd name="T23" fmla="*/ 34 h 34"/>
              <a:gd name="T24" fmla="*/ 5 w 5"/>
              <a:gd name="T25" fmla="*/ 31 h 34"/>
              <a:gd name="T26" fmla="*/ 5 w 5"/>
              <a:gd name="T27" fmla="*/ 2 h 34"/>
              <a:gd name="T28" fmla="*/ 3 w 5"/>
              <a:gd name="T2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34">
                <a:moveTo>
                  <a:pt x="3" y="0"/>
                </a:moveTo>
                <a:cubicBezTo>
                  <a:pt x="3" y="0"/>
                  <a:pt x="3" y="0"/>
                  <a:pt x="3" y="0"/>
                </a:cubicBezTo>
                <a:cubicBezTo>
                  <a:pt x="3" y="0"/>
                  <a:pt x="3" y="0"/>
                  <a:pt x="3" y="0"/>
                </a:cubicBezTo>
                <a:cubicBezTo>
                  <a:pt x="3" y="0"/>
                  <a:pt x="3" y="0"/>
                  <a:pt x="3" y="0"/>
                </a:cubicBezTo>
                <a:cubicBezTo>
                  <a:pt x="3" y="0"/>
                  <a:pt x="3" y="0"/>
                  <a:pt x="3" y="0"/>
                </a:cubicBezTo>
                <a:cubicBezTo>
                  <a:pt x="0" y="0"/>
                  <a:pt x="1" y="2"/>
                  <a:pt x="1" y="2"/>
                </a:cubicBezTo>
                <a:cubicBezTo>
                  <a:pt x="1" y="2"/>
                  <a:pt x="1" y="30"/>
                  <a:pt x="1" y="31"/>
                </a:cubicBezTo>
                <a:cubicBezTo>
                  <a:pt x="1" y="32"/>
                  <a:pt x="1" y="34"/>
                  <a:pt x="3" y="34"/>
                </a:cubicBezTo>
                <a:cubicBezTo>
                  <a:pt x="3" y="34"/>
                  <a:pt x="3" y="34"/>
                  <a:pt x="3" y="34"/>
                </a:cubicBezTo>
                <a:cubicBezTo>
                  <a:pt x="3" y="34"/>
                  <a:pt x="3" y="34"/>
                  <a:pt x="3" y="34"/>
                </a:cubicBezTo>
                <a:cubicBezTo>
                  <a:pt x="3" y="34"/>
                  <a:pt x="3" y="34"/>
                  <a:pt x="3" y="34"/>
                </a:cubicBezTo>
                <a:cubicBezTo>
                  <a:pt x="3" y="34"/>
                  <a:pt x="3" y="34"/>
                  <a:pt x="3" y="34"/>
                </a:cubicBezTo>
                <a:cubicBezTo>
                  <a:pt x="5" y="34"/>
                  <a:pt x="5" y="32"/>
                  <a:pt x="5" y="31"/>
                </a:cubicBezTo>
                <a:cubicBezTo>
                  <a:pt x="5" y="30"/>
                  <a:pt x="5" y="2"/>
                  <a:pt x="5" y="2"/>
                </a:cubicBezTo>
                <a:cubicBezTo>
                  <a:pt x="5" y="2"/>
                  <a:pt x="5" y="0"/>
                  <a:pt x="3"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218"/>
          <p:cNvSpPr>
            <a:spLocks/>
          </p:cNvSpPr>
          <p:nvPr/>
        </p:nvSpPr>
        <p:spPr bwMode="auto">
          <a:xfrm>
            <a:off x="7271135" y="3305944"/>
            <a:ext cx="103360" cy="54552"/>
          </a:xfrm>
          <a:custGeom>
            <a:avLst/>
            <a:gdLst>
              <a:gd name="T0" fmla="*/ 13 w 13"/>
              <a:gd name="T1" fmla="*/ 7 h 7"/>
              <a:gd name="T2" fmla="*/ 7 w 13"/>
              <a:gd name="T3" fmla="*/ 0 h 7"/>
              <a:gd name="T4" fmla="*/ 7 w 13"/>
              <a:gd name="T5" fmla="*/ 0 h 7"/>
              <a:gd name="T6" fmla="*/ 0 w 13"/>
              <a:gd name="T7" fmla="*/ 7 h 7"/>
              <a:gd name="T8" fmla="*/ 13 w 13"/>
              <a:gd name="T9" fmla="*/ 7 h 7"/>
            </a:gdLst>
            <a:ahLst/>
            <a:cxnLst>
              <a:cxn ang="0">
                <a:pos x="T0" y="T1"/>
              </a:cxn>
              <a:cxn ang="0">
                <a:pos x="T2" y="T3"/>
              </a:cxn>
              <a:cxn ang="0">
                <a:pos x="T4" y="T5"/>
              </a:cxn>
              <a:cxn ang="0">
                <a:pos x="T6" y="T7"/>
              </a:cxn>
              <a:cxn ang="0">
                <a:pos x="T8" y="T9"/>
              </a:cxn>
            </a:cxnLst>
            <a:rect l="0" t="0" r="r" b="b"/>
            <a:pathLst>
              <a:path w="13" h="7">
                <a:moveTo>
                  <a:pt x="13" y="7"/>
                </a:moveTo>
                <a:cubicBezTo>
                  <a:pt x="11" y="2"/>
                  <a:pt x="8" y="0"/>
                  <a:pt x="7" y="0"/>
                </a:cubicBezTo>
                <a:cubicBezTo>
                  <a:pt x="7" y="0"/>
                  <a:pt x="7" y="0"/>
                  <a:pt x="7" y="0"/>
                </a:cubicBezTo>
                <a:cubicBezTo>
                  <a:pt x="5" y="0"/>
                  <a:pt x="3" y="2"/>
                  <a:pt x="0" y="7"/>
                </a:cubicBezTo>
                <a:lnTo>
                  <a:pt x="13" y="7"/>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6" name="Freeform 219"/>
          <p:cNvSpPr>
            <a:spLocks noEditPoints="1"/>
          </p:cNvSpPr>
          <p:nvPr/>
        </p:nvSpPr>
        <p:spPr bwMode="auto">
          <a:xfrm>
            <a:off x="7185002" y="3377721"/>
            <a:ext cx="278500" cy="364633"/>
          </a:xfrm>
          <a:custGeom>
            <a:avLst/>
            <a:gdLst>
              <a:gd name="T0" fmla="*/ 25 w 35"/>
              <a:gd name="T1" fmla="*/ 0 h 46"/>
              <a:gd name="T2" fmla="*/ 10 w 35"/>
              <a:gd name="T3" fmla="*/ 0 h 46"/>
              <a:gd name="T4" fmla="*/ 7 w 35"/>
              <a:gd name="T5" fmla="*/ 46 h 46"/>
              <a:gd name="T6" fmla="*/ 14 w 35"/>
              <a:gd name="T7" fmla="*/ 46 h 46"/>
              <a:gd name="T8" fmla="*/ 14 w 35"/>
              <a:gd name="T9" fmla="*/ 28 h 46"/>
              <a:gd name="T10" fmla="*/ 15 w 35"/>
              <a:gd name="T11" fmla="*/ 25 h 46"/>
              <a:gd name="T12" fmla="*/ 18 w 35"/>
              <a:gd name="T13" fmla="*/ 24 h 46"/>
              <a:gd name="T14" fmla="*/ 20 w 35"/>
              <a:gd name="T15" fmla="*/ 25 h 46"/>
              <a:gd name="T16" fmla="*/ 21 w 35"/>
              <a:gd name="T17" fmla="*/ 28 h 46"/>
              <a:gd name="T18" fmla="*/ 21 w 35"/>
              <a:gd name="T19" fmla="*/ 46 h 46"/>
              <a:gd name="T20" fmla="*/ 28 w 35"/>
              <a:gd name="T21" fmla="*/ 46 h 46"/>
              <a:gd name="T22" fmla="*/ 25 w 35"/>
              <a:gd name="T23" fmla="*/ 0 h 46"/>
              <a:gd name="T24" fmla="*/ 18 w 35"/>
              <a:gd name="T25" fmla="*/ 16 h 46"/>
              <a:gd name="T26" fmla="*/ 12 w 35"/>
              <a:gd name="T27" fmla="*/ 10 h 46"/>
              <a:gd name="T28" fmla="*/ 18 w 35"/>
              <a:gd name="T29" fmla="*/ 5 h 46"/>
              <a:gd name="T30" fmla="*/ 23 w 35"/>
              <a:gd name="T31" fmla="*/ 10 h 46"/>
              <a:gd name="T32" fmla="*/ 18 w 35"/>
              <a:gd name="T33" fmla="*/ 1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46">
                <a:moveTo>
                  <a:pt x="25" y="0"/>
                </a:moveTo>
                <a:cubicBezTo>
                  <a:pt x="10" y="0"/>
                  <a:pt x="10" y="0"/>
                  <a:pt x="10" y="0"/>
                </a:cubicBezTo>
                <a:cubicBezTo>
                  <a:pt x="5" y="10"/>
                  <a:pt x="0" y="27"/>
                  <a:pt x="7" y="46"/>
                </a:cubicBezTo>
                <a:cubicBezTo>
                  <a:pt x="7" y="46"/>
                  <a:pt x="11" y="46"/>
                  <a:pt x="14" y="46"/>
                </a:cubicBezTo>
                <a:cubicBezTo>
                  <a:pt x="14" y="28"/>
                  <a:pt x="14" y="28"/>
                  <a:pt x="14" y="28"/>
                </a:cubicBezTo>
                <a:cubicBezTo>
                  <a:pt x="14" y="28"/>
                  <a:pt x="14" y="26"/>
                  <a:pt x="15" y="25"/>
                </a:cubicBezTo>
                <a:cubicBezTo>
                  <a:pt x="15" y="25"/>
                  <a:pt x="16" y="24"/>
                  <a:pt x="18" y="24"/>
                </a:cubicBezTo>
                <a:cubicBezTo>
                  <a:pt x="19" y="24"/>
                  <a:pt x="20" y="25"/>
                  <a:pt x="20" y="25"/>
                </a:cubicBezTo>
                <a:cubicBezTo>
                  <a:pt x="21" y="26"/>
                  <a:pt x="21" y="28"/>
                  <a:pt x="21" y="28"/>
                </a:cubicBezTo>
                <a:cubicBezTo>
                  <a:pt x="21" y="46"/>
                  <a:pt x="21" y="46"/>
                  <a:pt x="21" y="46"/>
                </a:cubicBezTo>
                <a:cubicBezTo>
                  <a:pt x="25" y="46"/>
                  <a:pt x="28" y="46"/>
                  <a:pt x="28" y="46"/>
                </a:cubicBezTo>
                <a:cubicBezTo>
                  <a:pt x="35" y="27"/>
                  <a:pt x="31" y="10"/>
                  <a:pt x="25" y="0"/>
                </a:cubicBezTo>
                <a:close/>
                <a:moveTo>
                  <a:pt x="18" y="16"/>
                </a:moveTo>
                <a:cubicBezTo>
                  <a:pt x="15" y="16"/>
                  <a:pt x="12" y="13"/>
                  <a:pt x="12" y="10"/>
                </a:cubicBezTo>
                <a:cubicBezTo>
                  <a:pt x="12" y="7"/>
                  <a:pt x="15" y="5"/>
                  <a:pt x="18" y="5"/>
                </a:cubicBezTo>
                <a:cubicBezTo>
                  <a:pt x="21" y="5"/>
                  <a:pt x="23" y="7"/>
                  <a:pt x="23" y="10"/>
                </a:cubicBezTo>
                <a:cubicBezTo>
                  <a:pt x="23" y="13"/>
                  <a:pt x="21" y="16"/>
                  <a:pt x="18" y="1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7" name="Freeform 220"/>
          <p:cNvSpPr>
            <a:spLocks/>
          </p:cNvSpPr>
          <p:nvPr/>
        </p:nvSpPr>
        <p:spPr bwMode="auto">
          <a:xfrm>
            <a:off x="7239554" y="3750966"/>
            <a:ext cx="54552" cy="17227"/>
          </a:xfrm>
          <a:custGeom>
            <a:avLst/>
            <a:gdLst>
              <a:gd name="T0" fmla="*/ 7 w 7"/>
              <a:gd name="T1" fmla="*/ 0 h 2"/>
              <a:gd name="T2" fmla="*/ 1 w 7"/>
              <a:gd name="T3" fmla="*/ 0 h 2"/>
              <a:gd name="T4" fmla="*/ 0 w 7"/>
              <a:gd name="T5" fmla="*/ 1 h 2"/>
              <a:gd name="T6" fmla="*/ 1 w 7"/>
              <a:gd name="T7" fmla="*/ 2 h 2"/>
              <a:gd name="T8" fmla="*/ 7 w 7"/>
              <a:gd name="T9" fmla="*/ 2 h 2"/>
              <a:gd name="T10" fmla="*/ 7 w 7"/>
              <a:gd name="T11" fmla="*/ 0 h 2"/>
            </a:gdLst>
            <a:ahLst/>
            <a:cxnLst>
              <a:cxn ang="0">
                <a:pos x="T0" y="T1"/>
              </a:cxn>
              <a:cxn ang="0">
                <a:pos x="T2" y="T3"/>
              </a:cxn>
              <a:cxn ang="0">
                <a:pos x="T4" y="T5"/>
              </a:cxn>
              <a:cxn ang="0">
                <a:pos x="T6" y="T7"/>
              </a:cxn>
              <a:cxn ang="0">
                <a:pos x="T8" y="T9"/>
              </a:cxn>
              <a:cxn ang="0">
                <a:pos x="T10" y="T11"/>
              </a:cxn>
            </a:cxnLst>
            <a:rect l="0" t="0" r="r" b="b"/>
            <a:pathLst>
              <a:path w="7" h="2">
                <a:moveTo>
                  <a:pt x="7" y="0"/>
                </a:moveTo>
                <a:cubicBezTo>
                  <a:pt x="1" y="0"/>
                  <a:pt x="1" y="0"/>
                  <a:pt x="1" y="0"/>
                </a:cubicBezTo>
                <a:cubicBezTo>
                  <a:pt x="0" y="0"/>
                  <a:pt x="0" y="1"/>
                  <a:pt x="0" y="1"/>
                </a:cubicBezTo>
                <a:cubicBezTo>
                  <a:pt x="0" y="2"/>
                  <a:pt x="0" y="2"/>
                  <a:pt x="1" y="2"/>
                </a:cubicBezTo>
                <a:cubicBezTo>
                  <a:pt x="7" y="2"/>
                  <a:pt x="7" y="2"/>
                  <a:pt x="7" y="2"/>
                </a:cubicBezTo>
                <a:lnTo>
                  <a:pt x="7"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8" name="Freeform 221"/>
          <p:cNvSpPr>
            <a:spLocks/>
          </p:cNvSpPr>
          <p:nvPr/>
        </p:nvSpPr>
        <p:spPr bwMode="auto">
          <a:xfrm>
            <a:off x="7351527" y="3750966"/>
            <a:ext cx="63165" cy="17227"/>
          </a:xfrm>
          <a:custGeom>
            <a:avLst/>
            <a:gdLst>
              <a:gd name="T0" fmla="*/ 7 w 8"/>
              <a:gd name="T1" fmla="*/ 0 h 2"/>
              <a:gd name="T2" fmla="*/ 0 w 8"/>
              <a:gd name="T3" fmla="*/ 0 h 2"/>
              <a:gd name="T4" fmla="*/ 0 w 8"/>
              <a:gd name="T5" fmla="*/ 2 h 2"/>
              <a:gd name="T6" fmla="*/ 7 w 8"/>
              <a:gd name="T7" fmla="*/ 2 h 2"/>
              <a:gd name="T8" fmla="*/ 8 w 8"/>
              <a:gd name="T9" fmla="*/ 1 h 2"/>
              <a:gd name="T10" fmla="*/ 7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7" y="0"/>
                </a:moveTo>
                <a:cubicBezTo>
                  <a:pt x="0" y="0"/>
                  <a:pt x="0" y="0"/>
                  <a:pt x="0" y="0"/>
                </a:cubicBezTo>
                <a:cubicBezTo>
                  <a:pt x="0" y="2"/>
                  <a:pt x="0" y="2"/>
                  <a:pt x="0" y="2"/>
                </a:cubicBezTo>
                <a:cubicBezTo>
                  <a:pt x="7" y="2"/>
                  <a:pt x="7" y="2"/>
                  <a:pt x="7" y="2"/>
                </a:cubicBezTo>
                <a:cubicBezTo>
                  <a:pt x="7" y="2"/>
                  <a:pt x="8" y="2"/>
                  <a:pt x="8" y="1"/>
                </a:cubicBezTo>
                <a:cubicBezTo>
                  <a:pt x="8" y="1"/>
                  <a:pt x="7" y="0"/>
                  <a:pt x="7"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428173645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6516505" y="5173662"/>
            <a:ext cx="5311589" cy="391503"/>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23037" y="1425496"/>
            <a:ext cx="5298527" cy="3348508"/>
          </a:xfrm>
          <a:prstGeom prst="rect">
            <a:avLst/>
          </a:prstGeom>
        </p:spPr>
      </p:pic>
      <p:sp>
        <p:nvSpPr>
          <p:cNvPr id="23" name="Title 1"/>
          <p:cNvSpPr txBox="1">
            <a:spLocks/>
          </p:cNvSpPr>
          <p:nvPr/>
        </p:nvSpPr>
        <p:spPr>
          <a:xfrm>
            <a:off x="274320" y="292082"/>
            <a:ext cx="11887200" cy="946413"/>
          </a:xfrm>
          <a:prstGeom prst="rect">
            <a:avLst/>
          </a:prstGeom>
        </p:spPr>
        <p:txBody>
          <a:bodyPr vert="horz" wrap="square" lIns="146304" tIns="91440" rIns="146304" bIns="91440" rtlCol="0" anchor="t">
            <a:noAutofit/>
          </a:bodyPr>
          <a:lstStyle>
            <a:lvl1pPr algn="l" defTabSz="931505" rtl="0" fontAlgn="base">
              <a:lnSpc>
                <a:spcPct val="90000"/>
              </a:lnSpc>
              <a:spcBef>
                <a:spcPct val="0"/>
              </a:spcBef>
              <a:spcAft>
                <a:spcPct val="0"/>
              </a:spcAft>
              <a:defRPr lang="en-US" sz="5198" kern="1200" spc="-102">
                <a:ln w="3175">
                  <a:noFill/>
                </a:ln>
                <a:solidFill>
                  <a:schemeClr val="tx2"/>
                </a:solidFill>
                <a:latin typeface="+mj-lt"/>
                <a:ea typeface="ＭＳ Ｐゴシック" charset="0"/>
                <a:cs typeface="Segoe UI" pitchFamily="34" charset="0"/>
              </a:defRPr>
            </a:lvl1pPr>
            <a:lvl2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2pPr>
            <a:lvl3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3pPr>
            <a:lvl4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4pPr>
            <a:lvl5pPr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5pPr>
            <a:lvl6pPr marL="457024"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6pPr>
            <a:lvl7pPr marL="914049"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7pPr>
            <a:lvl8pPr marL="1371073"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8pPr>
            <a:lvl9pPr marL="1828098" algn="l" defTabSz="931505" rtl="0" fontAlgn="base">
              <a:lnSpc>
                <a:spcPct val="90000"/>
              </a:lnSpc>
              <a:spcBef>
                <a:spcPct val="0"/>
              </a:spcBef>
              <a:spcAft>
                <a:spcPct val="0"/>
              </a:spcAft>
              <a:defRPr sz="5398">
                <a:solidFill>
                  <a:schemeClr val="tx2"/>
                </a:solidFill>
                <a:latin typeface="Segoe UI Light" charset="0"/>
                <a:ea typeface="ＭＳ Ｐゴシック" charset="0"/>
                <a:cs typeface="Segoe UI" charset="0"/>
              </a:defRPr>
            </a:lvl9pPr>
          </a:lstStyle>
          <a:p>
            <a:endParaRPr sz="4000" dirty="0">
              <a:solidFill>
                <a:srgbClr val="505050"/>
              </a:solidFill>
            </a:endParaRPr>
          </a:p>
        </p:txBody>
      </p:sp>
      <p:sp>
        <p:nvSpPr>
          <p:cNvPr id="24" name="Content Placeholder 5"/>
          <p:cNvSpPr txBox="1">
            <a:spLocks/>
          </p:cNvSpPr>
          <p:nvPr/>
        </p:nvSpPr>
        <p:spPr>
          <a:xfrm>
            <a:off x="-2480598" y="392894"/>
            <a:ext cx="11885514" cy="3799672"/>
          </a:xfrm>
          <a:prstGeom prst="rect">
            <a:avLst/>
          </a:prstGeom>
        </p:spPr>
        <p:txBody>
          <a:bodyPr/>
          <a:lst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2448" dirty="0">
              <a:gradFill>
                <a:gsLst>
                  <a:gs pos="1250">
                    <a:srgbClr val="FFFFFF"/>
                  </a:gs>
                  <a:gs pos="100000">
                    <a:srgbClr val="FFFFFF"/>
                  </a:gs>
                </a:gsLst>
                <a:lin ang="5400000" scaled="0"/>
              </a:gradFill>
            </a:endParaRPr>
          </a:p>
        </p:txBody>
      </p:sp>
      <p:sp>
        <p:nvSpPr>
          <p:cNvPr id="3" name="Title 2"/>
          <p:cNvSpPr>
            <a:spLocks noGrp="1"/>
          </p:cNvSpPr>
          <p:nvPr>
            <p:ph type="title"/>
          </p:nvPr>
        </p:nvSpPr>
        <p:spPr/>
        <p:txBody>
          <a:bodyPr/>
          <a:lstStyle/>
          <a:p>
            <a:r>
              <a:rPr lang="en-US" smtClean="0"/>
              <a:t>DATAZEN</a:t>
            </a:r>
            <a:endParaRPr lang="en-US" dirty="0"/>
          </a:p>
        </p:txBody>
      </p:sp>
      <p:sp>
        <p:nvSpPr>
          <p:cNvPr id="6" name="Text Placeholder 5"/>
          <p:cNvSpPr>
            <a:spLocks noGrp="1"/>
          </p:cNvSpPr>
          <p:nvPr>
            <p:ph type="body" sz="quarter" idx="10"/>
          </p:nvPr>
        </p:nvSpPr>
        <p:spPr>
          <a:xfrm>
            <a:off x="274638" y="1820862"/>
            <a:ext cx="5303526" cy="3594830"/>
          </a:xfrm>
        </p:spPr>
        <p:txBody>
          <a:bodyPr/>
          <a:lstStyle/>
          <a:p>
            <a:pPr lvl="1"/>
            <a:r>
              <a:rPr lang="en-US" sz="2800" b="1" dirty="0" smtClean="0"/>
              <a:t>For solutions </a:t>
            </a:r>
            <a:r>
              <a:rPr lang="en-US" sz="2800" b="1" dirty="0"/>
              <a:t>i</a:t>
            </a:r>
            <a:r>
              <a:rPr lang="en-US" sz="2800" b="1" dirty="0" smtClean="0"/>
              <a:t>mplemented on-premises. </a:t>
            </a:r>
          </a:p>
          <a:p>
            <a:pPr lvl="1"/>
            <a:r>
              <a:rPr lang="en-US" sz="2800" dirty="0" smtClean="0"/>
              <a:t>Rich, interactive data visualization </a:t>
            </a:r>
            <a:r>
              <a:rPr lang="en-US" sz="2800" b="1" dirty="0" smtClean="0"/>
              <a:t>on all major mobile platforms</a:t>
            </a:r>
          </a:p>
          <a:p>
            <a:pPr lvl="1"/>
            <a:r>
              <a:rPr lang="en-US" sz="2800" dirty="0"/>
              <a:t>D</a:t>
            </a:r>
            <a:r>
              <a:rPr lang="en-US" sz="2800" dirty="0" smtClean="0"/>
              <a:t>ownload </a:t>
            </a:r>
            <a:r>
              <a:rPr lang="en-US" sz="2800" b="1" dirty="0" smtClean="0"/>
              <a:t>at no additional cost for SQL Server Enterprise Edition customers 2008</a:t>
            </a:r>
            <a:r>
              <a:rPr lang="en-US" sz="2800" dirty="0" smtClean="0"/>
              <a:t> or later and Software Assurance</a:t>
            </a:r>
            <a:endParaRPr lang="en-US" sz="2800" dirty="0"/>
          </a:p>
        </p:txBody>
      </p:sp>
      <p:sp>
        <p:nvSpPr>
          <p:cNvPr id="8" name="Text Placeholder 7"/>
          <p:cNvSpPr>
            <a:spLocks noGrp="1"/>
          </p:cNvSpPr>
          <p:nvPr>
            <p:ph type="body" sz="quarter" idx="11"/>
          </p:nvPr>
        </p:nvSpPr>
        <p:spPr/>
        <p:txBody>
          <a:bodyPr/>
          <a:lstStyle/>
          <a:p>
            <a:r>
              <a:rPr lang="en-US" smtClean="0"/>
              <a:t>Mobile BI Apps for SQL Server</a:t>
            </a:r>
            <a:endParaRPr lang="en-US" dirty="0"/>
          </a:p>
        </p:txBody>
      </p:sp>
    </p:spTree>
    <p:extLst>
      <p:ext uri="{BB962C8B-B14F-4D97-AF65-F5344CB8AC3E}">
        <p14:creationId xmlns:p14="http://schemas.microsoft.com/office/powerpoint/2010/main" val="3352217719"/>
      </p:ext>
    </p:extLst>
  </p:cSld>
  <p:clrMapOvr>
    <a:masterClrMapping/>
  </p:clrMapOvr>
  <p:transition spd="slow">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Demo: DATAZEN</a:t>
            </a:r>
            <a:endParaRPr lang="en-US" dirty="0"/>
          </a:p>
        </p:txBody>
      </p:sp>
    </p:spTree>
    <p:extLst>
      <p:ext uri="{BB962C8B-B14F-4D97-AF65-F5344CB8AC3E}">
        <p14:creationId xmlns:p14="http://schemas.microsoft.com/office/powerpoint/2010/main" val="2250143462"/>
      </p:ext>
    </p:extLst>
  </p:cSld>
  <p:clrMapOvr>
    <a:masterClrMapping/>
  </p:clrMapOvr>
  <p:transition spd="slow">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2125662"/>
            <a:ext cx="11887200" cy="1098762"/>
          </a:xfrm>
        </p:spPr>
        <p:txBody>
          <a:bodyPr/>
          <a:lstStyle/>
          <a:p>
            <a:r>
              <a:rPr lang="en-US" sz="6600" dirty="0" smtClean="0"/>
              <a:t>Empowering the Business Analyst </a:t>
            </a:r>
            <a:endParaRPr lang="en-US" sz="6600" dirty="0"/>
          </a:p>
        </p:txBody>
      </p:sp>
    </p:spTree>
    <p:extLst>
      <p:ext uri="{BB962C8B-B14F-4D97-AF65-F5344CB8AC3E}">
        <p14:creationId xmlns:p14="http://schemas.microsoft.com/office/powerpoint/2010/main" val="253566105"/>
      </p:ext>
    </p:extLst>
  </p:cSld>
  <p:clrMapOvr>
    <a:masterClrMapping/>
  </p:clrMapOvr>
  <p:transition spd="slow">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Power BI Designer</a:t>
            </a:r>
            <a:br>
              <a:rPr lang="en-US" smtClean="0"/>
            </a:br>
            <a:endParaRPr lang="en-US" dirty="0"/>
          </a:p>
        </p:txBody>
      </p:sp>
      <p:sp>
        <p:nvSpPr>
          <p:cNvPr id="7" name="Text Placeholder 6"/>
          <p:cNvSpPr>
            <a:spLocks noGrp="1"/>
          </p:cNvSpPr>
          <p:nvPr>
            <p:ph type="body" sz="quarter" idx="10"/>
          </p:nvPr>
        </p:nvSpPr>
        <p:spPr>
          <a:xfrm>
            <a:off x="274639" y="1363661"/>
            <a:ext cx="5486400" cy="5029201"/>
          </a:xfrm>
        </p:spPr>
        <p:txBody>
          <a:bodyPr/>
          <a:lstStyle/>
          <a:p>
            <a:r>
              <a:rPr lang="en-US" sz="2800" dirty="0" smtClean="0"/>
              <a:t>A freely downloadable 32/64bit desktop companion optimized for use with the Power BI Service. </a:t>
            </a:r>
          </a:p>
          <a:p>
            <a:r>
              <a:rPr lang="en-US" sz="2800" dirty="0" smtClean="0"/>
              <a:t>Visual data exploration and reporting tool complementary to Excel. </a:t>
            </a:r>
          </a:p>
          <a:p>
            <a:r>
              <a:rPr lang="en-US" sz="2800" dirty="0" smtClean="0"/>
              <a:t>Combines the power of Power Query, Power Pivot &amp; Power View.</a:t>
            </a:r>
          </a:p>
          <a:p>
            <a:r>
              <a:rPr lang="en-US" sz="2800" dirty="0" smtClean="0"/>
              <a:t>Effortlessly publish and share interactive visual reports to users of Power BI</a:t>
            </a:r>
            <a:endParaRPr lang="en-US" sz="28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5090" y="1744662"/>
            <a:ext cx="5595620" cy="3147536"/>
          </a:xfrm>
          <a:prstGeom prst="rect">
            <a:avLst/>
          </a:prstGeom>
        </p:spPr>
      </p:pic>
      <p:sp>
        <p:nvSpPr>
          <p:cNvPr id="9" name="Rectangle 8"/>
          <p:cNvSpPr/>
          <p:nvPr/>
        </p:nvSpPr>
        <p:spPr>
          <a:xfrm>
            <a:off x="6605090" y="5173662"/>
            <a:ext cx="5432210" cy="830997"/>
          </a:xfrm>
          <a:prstGeom prst="rect">
            <a:avLst/>
          </a:prstGeom>
        </p:spPr>
        <p:txBody>
          <a:bodyPr wrap="square">
            <a:spAutoFit/>
          </a:bodyPr>
          <a:lstStyle/>
          <a:p>
            <a:pPr algn="ctr"/>
            <a:r>
              <a:rPr lang="en-US" sz="2400" b="1" dirty="0">
                <a:solidFill>
                  <a:srgbClr val="47D8FF"/>
                </a:solidFill>
                <a:latin typeface="Segoe UI Light"/>
              </a:rPr>
              <a:t>Power BI Designer is a visual data exploration and reporting tool</a:t>
            </a:r>
          </a:p>
        </p:txBody>
      </p:sp>
    </p:spTree>
    <p:extLst>
      <p:ext uri="{BB962C8B-B14F-4D97-AF65-F5344CB8AC3E}">
        <p14:creationId xmlns:p14="http://schemas.microsoft.com/office/powerpoint/2010/main" val="3931677787"/>
      </p:ext>
    </p:extLst>
  </p:cSld>
  <p:clrMapOvr>
    <a:masterClrMapping/>
  </p:clrMapOvr>
  <p:transition spd="slow">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 Power BI Designer</a:t>
            </a:r>
            <a:endParaRPr lang="en-US" dirty="0"/>
          </a:p>
        </p:txBody>
      </p:sp>
      <p:sp>
        <p:nvSpPr>
          <p:cNvPr id="2" name="Text Placeholder 1"/>
          <p:cNvSpPr>
            <a:spLocks noGrp="1"/>
          </p:cNvSpPr>
          <p:nvPr>
            <p:ph type="body" sz="quarter" idx="12"/>
          </p:nvPr>
        </p:nvSpPr>
        <p:spPr/>
        <p:txBody>
          <a:bodyPr/>
          <a:lstStyle/>
          <a:p>
            <a:r>
              <a:rPr lang="en-US" b="1" dirty="0" smtClean="0"/>
              <a:t>Sanjay Soni</a:t>
            </a:r>
            <a:endParaRPr lang="en-US" b="1" dirty="0"/>
          </a:p>
        </p:txBody>
      </p:sp>
    </p:spTree>
    <p:extLst>
      <p:ext uri="{BB962C8B-B14F-4D97-AF65-F5344CB8AC3E}">
        <p14:creationId xmlns:p14="http://schemas.microsoft.com/office/powerpoint/2010/main" val="2873550561"/>
      </p:ext>
    </p:extLst>
  </p:cSld>
  <p:clrMapOvr>
    <a:masterClrMapping/>
  </p:clrMapOvr>
  <p:transition spd="slow">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Empowering Business Users </a:t>
            </a:r>
            <a:endParaRPr lang="en-US" dirty="0"/>
          </a:p>
        </p:txBody>
      </p:sp>
    </p:spTree>
    <p:extLst>
      <p:ext uri="{BB962C8B-B14F-4D97-AF65-F5344CB8AC3E}">
        <p14:creationId xmlns:p14="http://schemas.microsoft.com/office/powerpoint/2010/main" val="2011230874"/>
      </p:ext>
    </p:extLst>
  </p:cSld>
  <p:clrMapOvr>
    <a:masterClrMapping/>
  </p:clrMapOvr>
  <p:transition spd="slow">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3237" y="830262"/>
            <a:ext cx="10740561" cy="5166609"/>
          </a:xfrm>
          <a:prstGeom prst="rect">
            <a:avLst/>
          </a:prstGeom>
          <a:noFill/>
          <a:ln>
            <a:noFill/>
          </a:ln>
        </p:spPr>
      </p:pic>
      <p:sp>
        <p:nvSpPr>
          <p:cNvPr id="4" name="TextBox 3"/>
          <p:cNvSpPr txBox="1"/>
          <p:nvPr/>
        </p:nvSpPr>
        <p:spPr>
          <a:xfrm>
            <a:off x="7376759" y="5514887"/>
            <a:ext cx="9637498" cy="1625060"/>
          </a:xfrm>
          <a:prstGeom prst="rect">
            <a:avLst/>
          </a:prstGeom>
          <a:noFill/>
        </p:spPr>
        <p:txBody>
          <a:bodyPr wrap="square" lIns="182880" tIns="146304" rIns="182880" bIns="146304" rtlCol="0">
            <a:spAutoFit/>
          </a:bodyPr>
          <a:lstStyle/>
          <a:p>
            <a:pPr>
              <a:lnSpc>
                <a:spcPct val="90000"/>
              </a:lnSpc>
              <a:spcAft>
                <a:spcPts val="600"/>
              </a:spcAft>
            </a:pPr>
            <a:r>
              <a:rPr lang="en-US" sz="9600" spc="-100" dirty="0" smtClean="0">
                <a:ln w="3175">
                  <a:noFill/>
                </a:ln>
                <a:solidFill>
                  <a:srgbClr val="FFFFFF"/>
                </a:solidFill>
                <a:latin typeface="Segoe UI Light"/>
                <a:cs typeface="Segoe UI" pitchFamily="34" charset="0"/>
              </a:rPr>
              <a:t>Power BI</a:t>
            </a:r>
          </a:p>
        </p:txBody>
      </p:sp>
    </p:spTree>
    <p:extLst>
      <p:ext uri="{BB962C8B-B14F-4D97-AF65-F5344CB8AC3E}">
        <p14:creationId xmlns:p14="http://schemas.microsoft.com/office/powerpoint/2010/main" val="2516528279"/>
      </p:ext>
    </p:extLst>
  </p:cSld>
  <p:clrMapOvr>
    <a:masterClrMapping/>
  </p:clrMapOvr>
  <p:transition spd="slow">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 Power BI</a:t>
            </a:r>
            <a:endParaRPr lang="en-US" dirty="0"/>
          </a:p>
        </p:txBody>
      </p:sp>
    </p:spTree>
    <p:extLst>
      <p:ext uri="{BB962C8B-B14F-4D97-AF65-F5344CB8AC3E}">
        <p14:creationId xmlns:p14="http://schemas.microsoft.com/office/powerpoint/2010/main" val="2302886804"/>
      </p:ext>
    </p:extLst>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icrosoft BI Overview</a:t>
            </a:r>
          </a:p>
        </p:txBody>
      </p:sp>
      <p:sp>
        <p:nvSpPr>
          <p:cNvPr id="5" name="Text Placeholder 4"/>
          <p:cNvSpPr>
            <a:spLocks noGrp="1"/>
          </p:cNvSpPr>
          <p:nvPr>
            <p:ph type="body" sz="quarter" idx="12"/>
          </p:nvPr>
        </p:nvSpPr>
        <p:spPr/>
        <p:txBody>
          <a:bodyPr/>
          <a:lstStyle/>
          <a:p>
            <a:r>
              <a:rPr lang="en-US" dirty="0"/>
              <a:t>Kamal </a:t>
            </a:r>
            <a:r>
              <a:rPr lang="en-US" dirty="0" err="1"/>
              <a:t>Hathi</a:t>
            </a:r>
            <a:r>
              <a:rPr lang="en-US" dirty="0"/>
              <a:t> </a:t>
            </a:r>
          </a:p>
          <a:p>
            <a:r>
              <a:rPr lang="en-US" dirty="0"/>
              <a:t>Partner Director Program Management</a:t>
            </a:r>
          </a:p>
        </p:txBody>
      </p:sp>
      <p:sp>
        <p:nvSpPr>
          <p:cNvPr id="6" name="Text Placeholder 5"/>
          <p:cNvSpPr>
            <a:spLocks noGrp="1"/>
          </p:cNvSpPr>
          <p:nvPr>
            <p:ph type="body" sz="quarter" idx="13"/>
          </p:nvPr>
        </p:nvSpPr>
        <p:spPr>
          <a:xfrm>
            <a:off x="322262" y="360323"/>
            <a:ext cx="2667000" cy="406265"/>
          </a:xfrm>
        </p:spPr>
        <p:txBody>
          <a:bodyPr/>
          <a:lstStyle/>
          <a:p>
            <a:r>
              <a:rPr lang="en-US" dirty="0" smtClean="0"/>
              <a:t>BRK2556</a:t>
            </a:r>
          </a:p>
        </p:txBody>
      </p:sp>
    </p:spTree>
    <p:extLst>
      <p:ext uri="{BB962C8B-B14F-4D97-AF65-F5344CB8AC3E}">
        <p14:creationId xmlns:p14="http://schemas.microsoft.com/office/powerpoint/2010/main" val="342433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0"/>
          <p:cNvSpPr>
            <a:spLocks noGrp="1"/>
          </p:cNvSpPr>
          <p:nvPr>
            <p:ph type="title"/>
          </p:nvPr>
        </p:nvSpPr>
        <p:spPr>
          <a:xfrm>
            <a:off x="262876" y="394965"/>
            <a:ext cx="11889564" cy="917575"/>
          </a:xfrm>
        </p:spPr>
        <p:txBody>
          <a:bodyPr/>
          <a:lstStyle/>
          <a:p>
            <a:pPr algn="ctr"/>
            <a:r>
              <a:rPr lang="en-US" sz="3600" dirty="0" smtClean="0"/>
              <a:t>Power BI App for Windows 8 Desktop and Surface </a:t>
            </a:r>
            <a:endParaRPr lang="en-US" sz="3600" dirty="0"/>
          </a:p>
        </p:txBody>
      </p:sp>
      <p:sp>
        <p:nvSpPr>
          <p:cNvPr id="2" name="Slide Number Placeholder 1"/>
          <p:cNvSpPr>
            <a:spLocks noGrp="1"/>
          </p:cNvSpPr>
          <p:nvPr>
            <p:ph type="sldNum" sz="quarter" idx="4294967295"/>
          </p:nvPr>
        </p:nvSpPr>
        <p:spPr>
          <a:xfrm>
            <a:off x="11869738" y="6692900"/>
            <a:ext cx="566737" cy="136525"/>
          </a:xfrm>
          <a:prstGeom prst="rect">
            <a:avLst/>
          </a:prstGeom>
        </p:spPr>
        <p:txBody>
          <a:bodyPr/>
          <a:lstStyle/>
          <a:p>
            <a:fld id="{27258FFF-F925-446B-8502-81C933981705}" type="slidenum">
              <a:rPr lang="en-US" smtClean="0">
                <a:solidFill>
                  <a:srgbClr val="505050"/>
                </a:solidFill>
              </a:rPr>
              <a:pPr/>
              <a:t>30</a:t>
            </a:fld>
            <a:endParaRPr lang="en-US">
              <a:solidFill>
                <a:srgbClr val="505050"/>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3037" y="1335082"/>
            <a:ext cx="6553198" cy="4434847"/>
          </a:xfrm>
          <a:prstGeom prst="rect">
            <a:avLst/>
          </a:prstGeom>
        </p:spPr>
      </p:pic>
      <p:pic>
        <p:nvPicPr>
          <p:cNvPr id="8" name="Picture 7">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41637" y="6130493"/>
            <a:ext cx="2457450" cy="638175"/>
          </a:xfrm>
          <a:prstGeom prst="rect">
            <a:avLst/>
          </a:prstGeom>
        </p:spPr>
      </p:pic>
      <p:sp>
        <p:nvSpPr>
          <p:cNvPr id="7" name="TextBox 6"/>
          <p:cNvSpPr txBox="1"/>
          <p:nvPr/>
        </p:nvSpPr>
        <p:spPr>
          <a:xfrm>
            <a:off x="5761037" y="6201561"/>
            <a:ext cx="3326680" cy="627864"/>
          </a:xfrm>
          <a:prstGeom prst="rect">
            <a:avLst/>
          </a:prstGeom>
          <a:noFill/>
        </p:spPr>
        <p:txBody>
          <a:bodyPr wrap="none" lIns="182880" tIns="146304" rIns="182880" bIns="146304" rtlCol="0">
            <a:spAutoFit/>
          </a:bodyPr>
          <a:lstStyle/>
          <a:p>
            <a:pPr>
              <a:lnSpc>
                <a:spcPct val="90000"/>
              </a:lnSpc>
              <a:spcAft>
                <a:spcPts val="600"/>
              </a:spcAft>
            </a:pPr>
            <a:r>
              <a:rPr lang="en-US" sz="2400" b="1" dirty="0" smtClean="0">
                <a:gradFill>
                  <a:gsLst>
                    <a:gs pos="2917">
                      <a:srgbClr val="FFFFFF"/>
                    </a:gs>
                    <a:gs pos="30000">
                      <a:srgbClr val="FFFFFF"/>
                    </a:gs>
                  </a:gsLst>
                  <a:lin ang="5400000" scaled="0"/>
                </a:gradFill>
              </a:rPr>
              <a:t>Available on May 7</a:t>
            </a:r>
            <a:r>
              <a:rPr lang="en-US" sz="2400" b="1" baseline="30000" dirty="0" smtClean="0">
                <a:gradFill>
                  <a:gsLst>
                    <a:gs pos="2917">
                      <a:srgbClr val="FFFFFF"/>
                    </a:gs>
                    <a:gs pos="30000">
                      <a:srgbClr val="FFFFFF"/>
                    </a:gs>
                  </a:gsLst>
                  <a:lin ang="5400000" scaled="0"/>
                </a:gradFill>
              </a:rPr>
              <a:t>th</a:t>
            </a:r>
            <a:endParaRPr lang="en-US" sz="2400" b="1" dirty="0" smtClean="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604961091"/>
      </p:ext>
    </p:extLst>
  </p:cSld>
  <p:clrMapOvr>
    <a:masterClrMapping/>
  </p:clrMapOvr>
  <p:transition spd="slow">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p:cNvSpPr/>
          <p:nvPr/>
        </p:nvSpPr>
        <p:spPr bwMode="auto">
          <a:xfrm>
            <a:off x="1765" y="994"/>
            <a:ext cx="4845263" cy="699254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280482" y="283519"/>
            <a:ext cx="4566547" cy="1295942"/>
          </a:xfrm>
        </p:spPr>
        <p:txBody>
          <a:bodyPr/>
          <a:lstStyle/>
          <a:p>
            <a:r>
              <a:rPr lang="en-US" sz="5198" dirty="0">
                <a:gradFill>
                  <a:gsLst>
                    <a:gs pos="0">
                      <a:schemeClr val="bg1"/>
                    </a:gs>
                    <a:gs pos="100000">
                      <a:schemeClr val="bg1"/>
                    </a:gs>
                  </a:gsLst>
                  <a:lin ang="5400000" scaled="1"/>
                </a:gradFill>
              </a:rPr>
              <a:t>Get started</a:t>
            </a:r>
            <a:br>
              <a:rPr lang="en-US" sz="5198" dirty="0">
                <a:gradFill>
                  <a:gsLst>
                    <a:gs pos="0">
                      <a:schemeClr val="bg1"/>
                    </a:gs>
                    <a:gs pos="100000">
                      <a:schemeClr val="bg1"/>
                    </a:gs>
                  </a:gsLst>
                  <a:lin ang="5400000" scaled="1"/>
                </a:gradFill>
              </a:rPr>
            </a:br>
            <a:r>
              <a:rPr lang="en-US" sz="5198" dirty="0">
                <a:gradFill>
                  <a:gsLst>
                    <a:gs pos="0">
                      <a:schemeClr val="bg1"/>
                    </a:gs>
                    <a:gs pos="100000">
                      <a:schemeClr val="bg1"/>
                    </a:gs>
                  </a:gsLst>
                  <a:lin ang="5400000" scaled="1"/>
                </a:gradFill>
              </a:rPr>
              <a:t>quickly  </a:t>
            </a:r>
            <a:r>
              <a:rPr lang="en-US" sz="6598" dirty="0">
                <a:gradFill>
                  <a:gsLst>
                    <a:gs pos="0">
                      <a:schemeClr val="bg1"/>
                    </a:gs>
                    <a:gs pos="100000">
                      <a:schemeClr val="bg1"/>
                    </a:gs>
                  </a:gsLst>
                  <a:lin ang="5400000" scaled="1"/>
                </a:gradFill>
              </a:rPr>
              <a:t/>
            </a:r>
            <a:br>
              <a:rPr lang="en-US" sz="6598" dirty="0">
                <a:gradFill>
                  <a:gsLst>
                    <a:gs pos="0">
                      <a:schemeClr val="bg1"/>
                    </a:gs>
                    <a:gs pos="100000">
                      <a:schemeClr val="bg1"/>
                    </a:gs>
                  </a:gsLst>
                  <a:lin ang="5400000" scaled="1"/>
                </a:gradFill>
              </a:rPr>
            </a:br>
            <a:r>
              <a:rPr lang="en-US" sz="2800" dirty="0">
                <a:gradFill>
                  <a:gsLst>
                    <a:gs pos="0">
                      <a:schemeClr val="bg1"/>
                    </a:gs>
                    <a:gs pos="100000">
                      <a:schemeClr val="bg1"/>
                    </a:gs>
                  </a:gsLst>
                  <a:lin ang="5400000" scaled="1"/>
                </a:gradFill>
              </a:rPr>
              <a:t>Prebuilt content packs</a:t>
            </a:r>
            <a:br>
              <a:rPr lang="en-US" sz="2800" dirty="0">
                <a:gradFill>
                  <a:gsLst>
                    <a:gs pos="0">
                      <a:schemeClr val="bg1"/>
                    </a:gs>
                    <a:gs pos="100000">
                      <a:schemeClr val="bg1"/>
                    </a:gs>
                  </a:gsLst>
                  <a:lin ang="5400000" scaled="1"/>
                </a:gradFill>
              </a:rPr>
            </a:br>
            <a:r>
              <a:rPr lang="en-US" sz="2800" dirty="0">
                <a:gradFill>
                  <a:gsLst>
                    <a:gs pos="0">
                      <a:schemeClr val="bg1"/>
                    </a:gs>
                    <a:gs pos="100000">
                      <a:schemeClr val="bg1"/>
                    </a:gs>
                  </a:gsLst>
                  <a:lin ang="5400000" scaled="1"/>
                </a:gradFill>
              </a:rPr>
              <a:t>for popular services</a:t>
            </a:r>
            <a:endParaRPr lang="en-US" sz="3198" dirty="0">
              <a:gradFill>
                <a:gsLst>
                  <a:gs pos="0">
                    <a:schemeClr val="bg1"/>
                  </a:gs>
                  <a:gs pos="100000">
                    <a:schemeClr val="bg1"/>
                  </a:gs>
                </a:gsLst>
                <a:lin ang="5400000" scaled="1"/>
              </a:gra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2011" y="3532656"/>
            <a:ext cx="4249390" cy="2243127"/>
          </a:xfrm>
          <a:prstGeom prst="rect">
            <a:avLst/>
          </a:prstGeom>
        </p:spPr>
      </p:pic>
      <p:sp>
        <p:nvSpPr>
          <p:cNvPr id="2" name="TextBox 1"/>
          <p:cNvSpPr txBox="1"/>
          <p:nvPr/>
        </p:nvSpPr>
        <p:spPr>
          <a:xfrm>
            <a:off x="9553907" y="6591099"/>
            <a:ext cx="2883468" cy="433923"/>
          </a:xfrm>
          <a:prstGeom prst="rect">
            <a:avLst/>
          </a:prstGeom>
          <a:noFill/>
        </p:spPr>
        <p:txBody>
          <a:bodyPr wrap="square" lIns="182854" tIns="146283" rIns="182854" bIns="146283" rtlCol="0">
            <a:spAutoFit/>
          </a:bodyPr>
          <a:lstStyle/>
          <a:p>
            <a:pPr defTabSz="932563">
              <a:lnSpc>
                <a:spcPct val="90000"/>
              </a:lnSpc>
              <a:spcAft>
                <a:spcPts val="600"/>
              </a:spcAft>
            </a:pPr>
            <a:r>
              <a:rPr lang="en-US" sz="1000" dirty="0">
                <a:gradFill>
                  <a:gsLst>
                    <a:gs pos="2917">
                      <a:srgbClr val="505050"/>
                    </a:gs>
                    <a:gs pos="30000">
                      <a:srgbClr val="505050"/>
                    </a:gs>
                  </a:gsLst>
                  <a:lin ang="5400000" scaled="0"/>
                </a:gradFill>
              </a:rPr>
              <a:t>* Some solutions not yet available in preview</a:t>
            </a:r>
          </a:p>
        </p:txBody>
      </p:sp>
      <p:pic>
        <p:nvPicPr>
          <p:cNvPr id="73" name="Picture 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0820" y="2390903"/>
            <a:ext cx="2252005" cy="1266140"/>
          </a:xfrm>
          <a:prstGeom prst="rect">
            <a:avLst/>
          </a:prstGeom>
          <a:noFill/>
          <a:ln>
            <a:solidFill>
              <a:srgbClr val="505050">
                <a:lumMod val="90000"/>
              </a:srgbClr>
            </a:solidFill>
          </a:ln>
        </p:spPr>
      </p:pic>
      <p:grpSp>
        <p:nvGrpSpPr>
          <p:cNvPr id="74" name="Group 73"/>
          <p:cNvGrpSpPr/>
          <p:nvPr/>
        </p:nvGrpSpPr>
        <p:grpSpPr>
          <a:xfrm>
            <a:off x="5063438" y="283975"/>
            <a:ext cx="7154343" cy="2443624"/>
            <a:chOff x="4963580" y="277985"/>
            <a:chExt cx="7015694" cy="2396267"/>
          </a:xfrm>
        </p:grpSpPr>
        <p:grpSp>
          <p:nvGrpSpPr>
            <p:cNvPr id="75" name="Group 74"/>
            <p:cNvGrpSpPr/>
            <p:nvPr/>
          </p:nvGrpSpPr>
          <p:grpSpPr>
            <a:xfrm>
              <a:off x="4963580" y="277985"/>
              <a:ext cx="7015694" cy="2396267"/>
              <a:chOff x="4963580" y="277985"/>
              <a:chExt cx="7015694" cy="2396267"/>
            </a:xfrm>
          </p:grpSpPr>
          <p:sp>
            <p:nvSpPr>
              <p:cNvPr id="77" name="Freeform 76"/>
              <p:cNvSpPr/>
              <p:nvPr/>
            </p:nvSpPr>
            <p:spPr bwMode="auto">
              <a:xfrm>
                <a:off x="4963580" y="277985"/>
                <a:ext cx="7015694" cy="2396267"/>
              </a:xfrm>
              <a:custGeom>
                <a:avLst/>
                <a:gdLst>
                  <a:gd name="connsiteX0" fmla="*/ 0 w 7015694"/>
                  <a:gd name="connsiteY0" fmla="*/ 0 h 2396267"/>
                  <a:gd name="connsiteX1" fmla="*/ 7015694 w 7015694"/>
                  <a:gd name="connsiteY1" fmla="*/ 0 h 2396267"/>
                  <a:gd name="connsiteX2" fmla="*/ 7015694 w 7015694"/>
                  <a:gd name="connsiteY2" fmla="*/ 2396267 h 2396267"/>
                  <a:gd name="connsiteX3" fmla="*/ 4679787 w 7015694"/>
                  <a:gd name="connsiteY3" fmla="*/ 2396267 h 2396267"/>
                  <a:gd name="connsiteX4" fmla="*/ 4679787 w 7015694"/>
                  <a:gd name="connsiteY4" fmla="*/ 1944309 h 2396267"/>
                  <a:gd name="connsiteX5" fmla="*/ 2230415 w 7015694"/>
                  <a:gd name="connsiteY5" fmla="*/ 1944309 h 2396267"/>
                  <a:gd name="connsiteX6" fmla="*/ 2230415 w 7015694"/>
                  <a:gd name="connsiteY6" fmla="*/ 2396267 h 2396267"/>
                  <a:gd name="connsiteX7" fmla="*/ 0 w 7015694"/>
                  <a:gd name="connsiteY7" fmla="*/ 2396267 h 239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5694" h="2396267">
                    <a:moveTo>
                      <a:pt x="0" y="0"/>
                    </a:moveTo>
                    <a:lnTo>
                      <a:pt x="7015694" y="0"/>
                    </a:lnTo>
                    <a:lnTo>
                      <a:pt x="7015694" y="2396267"/>
                    </a:lnTo>
                    <a:lnTo>
                      <a:pt x="4679787" y="2396267"/>
                    </a:lnTo>
                    <a:lnTo>
                      <a:pt x="4679787" y="1944309"/>
                    </a:lnTo>
                    <a:lnTo>
                      <a:pt x="2230415" y="1944309"/>
                    </a:lnTo>
                    <a:lnTo>
                      <a:pt x="2230415" y="2396267"/>
                    </a:lnTo>
                    <a:lnTo>
                      <a:pt x="0" y="2396267"/>
                    </a:lnTo>
                    <a:close/>
                  </a:path>
                </a:pathLst>
              </a:custGeom>
              <a:solidFill>
                <a:srgbClr val="FFFFFF"/>
              </a:solidFill>
              <a:ln w="38100" cap="flat" cmpd="sng" algn="ctr">
                <a:solidFill>
                  <a:srgbClr val="47D8FF"/>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8" name="Picture 7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70181" y="793632"/>
                <a:ext cx="966775" cy="252570"/>
              </a:xfrm>
              <a:prstGeom prst="rect">
                <a:avLst/>
              </a:prstGeom>
            </p:spPr>
          </p:pic>
          <p:pic>
            <p:nvPicPr>
              <p:cNvPr id="79" name="Picture 78"/>
              <p:cNvPicPr>
                <a:picLocks noChangeAspect="1"/>
              </p:cNvPicPr>
              <p:nvPr/>
            </p:nvPicPr>
            <p:blipFill rotWithShape="1">
              <a:blip r:embed="rId6" cstate="print">
                <a:extLst>
                  <a:ext uri="{28A0092B-C50C-407E-A947-70E740481C1C}">
                    <a14:useLocalDpi xmlns:a14="http://schemas.microsoft.com/office/drawing/2010/main" val="0"/>
                  </a:ext>
                </a:extLst>
              </a:blip>
              <a:srcRect l="16538" t="19057" r="17889" b="19354"/>
              <a:stretch/>
            </p:blipFill>
            <p:spPr>
              <a:xfrm>
                <a:off x="8655163" y="548297"/>
                <a:ext cx="1207229" cy="527433"/>
              </a:xfrm>
              <a:prstGeom prst="rect">
                <a:avLst/>
              </a:prstGeom>
            </p:spPr>
          </p:pic>
          <p:sp>
            <p:nvSpPr>
              <p:cNvPr id="80" name="Title 3"/>
              <p:cNvSpPr txBox="1">
                <a:spLocks/>
              </p:cNvSpPr>
              <p:nvPr/>
            </p:nvSpPr>
            <p:spPr>
              <a:xfrm>
                <a:off x="5394771" y="1345847"/>
                <a:ext cx="2373659" cy="537355"/>
              </a:xfrm>
              <a:prstGeom prst="rect">
                <a:avLst/>
              </a:prstGeom>
            </p:spPr>
            <p:txBody>
              <a:bodyPr vert="horz" wrap="square" lIns="143346" tIns="89592" rIns="143346" bIns="89592" rtlCol="0" anchor="ctr">
                <a:noAutofit/>
              </a:bodyPr>
              <a:lstStyle>
                <a:lvl1pPr algn="l" defTabSz="931863" rtl="0" fontAlgn="base">
                  <a:lnSpc>
                    <a:spcPct val="90000"/>
                  </a:lnSpc>
                  <a:spcBef>
                    <a:spcPct val="0"/>
                  </a:spcBef>
                  <a:spcAft>
                    <a:spcPct val="0"/>
                  </a:spcAft>
                  <a:defRPr lang="en-US" sz="5200"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a:defRPr/>
                </a:pPr>
                <a:r>
                  <a:rPr sz="1800" spc="0" dirty="0">
                    <a:gradFill>
                      <a:gsLst>
                        <a:gs pos="0">
                          <a:srgbClr val="505050"/>
                        </a:gs>
                        <a:gs pos="100000">
                          <a:srgbClr val="505050"/>
                        </a:gs>
                      </a:gsLst>
                      <a:lin ang="5400000" scaled="1"/>
                    </a:gradFill>
                    <a:latin typeface="Segoe UI" panose="020B0502040204020203" pitchFamily="34" charset="0"/>
                  </a:rPr>
                  <a:t>Dynamics Marketing</a:t>
                </a:r>
              </a:p>
            </p:txBody>
          </p:sp>
          <p:pic>
            <p:nvPicPr>
              <p:cNvPr id="81" name="Picture 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22862" y="1336748"/>
                <a:ext cx="1467156" cy="497753"/>
              </a:xfrm>
              <a:prstGeom prst="rect">
                <a:avLst/>
              </a:prstGeom>
            </p:spPr>
          </p:pic>
          <p:pic>
            <p:nvPicPr>
              <p:cNvPr id="82" name="Picture 81"/>
              <p:cNvPicPr>
                <a:picLocks noChangeAspect="1"/>
              </p:cNvPicPr>
              <p:nvPr/>
            </p:nvPicPr>
            <p:blipFill rotWithShape="1">
              <a:blip r:embed="rId8">
                <a:extLst>
                  <a:ext uri="{28A0092B-C50C-407E-A947-70E740481C1C}">
                    <a14:useLocalDpi xmlns:a14="http://schemas.microsoft.com/office/drawing/2010/main" val="0"/>
                  </a:ext>
                </a:extLst>
              </a:blip>
              <a:srcRect l="4573" t="25985" r="4573" b="28167"/>
              <a:stretch/>
            </p:blipFill>
            <p:spPr>
              <a:xfrm>
                <a:off x="5311852" y="1912466"/>
                <a:ext cx="1557644" cy="544987"/>
              </a:xfrm>
              <a:prstGeom prst="rect">
                <a:avLst/>
              </a:prstGeom>
            </p:spPr>
          </p:pic>
          <p:pic>
            <p:nvPicPr>
              <p:cNvPr id="83" name="Picture 8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53142" y="676157"/>
                <a:ext cx="1605614" cy="374644"/>
              </a:xfrm>
              <a:prstGeom prst="rect">
                <a:avLst/>
              </a:prstGeom>
            </p:spPr>
          </p:pic>
          <p:pic>
            <p:nvPicPr>
              <p:cNvPr id="84" name="Picture 8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059779" y="1907994"/>
                <a:ext cx="1451575" cy="335986"/>
              </a:xfrm>
              <a:prstGeom prst="rect">
                <a:avLst/>
              </a:prstGeom>
            </p:spPr>
          </p:pic>
          <p:sp>
            <p:nvSpPr>
              <p:cNvPr id="85" name="TextBox 84"/>
              <p:cNvSpPr txBox="1"/>
              <p:nvPr/>
            </p:nvSpPr>
            <p:spPr>
              <a:xfrm>
                <a:off x="4963580" y="277985"/>
                <a:ext cx="1136017" cy="549702"/>
              </a:xfrm>
              <a:prstGeom prst="rect">
                <a:avLst/>
              </a:prstGeom>
              <a:noFill/>
            </p:spPr>
            <p:txBody>
              <a:bodyPr wrap="none" lIns="186494" tIns="149196" rIns="186494" bIns="149196" rtlCol="0">
                <a:spAutoFit/>
              </a:bodyPr>
              <a:lstStyle/>
              <a:p>
                <a:pPr defTabSz="932418">
                  <a:lnSpc>
                    <a:spcPct val="90000"/>
                  </a:lnSpc>
                  <a:spcAft>
                    <a:spcPts val="612"/>
                  </a:spcAft>
                  <a:defRPr/>
                </a:pPr>
                <a:r>
                  <a:rPr lang="en-US" sz="1836" b="1" kern="0" dirty="0" smtClean="0">
                    <a:gradFill>
                      <a:gsLst>
                        <a:gs pos="2917">
                          <a:srgbClr val="0078D7"/>
                        </a:gs>
                        <a:gs pos="30000">
                          <a:srgbClr val="0078D7"/>
                        </a:gs>
                      </a:gsLst>
                      <a:lin ang="5400000" scaled="0"/>
                    </a:gradFill>
                  </a:rPr>
                  <a:t>TODAY</a:t>
                </a:r>
              </a:p>
            </p:txBody>
          </p:sp>
          <p:pic>
            <p:nvPicPr>
              <p:cNvPr id="86" name="Picture 8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89263" y="1287666"/>
                <a:ext cx="1075125" cy="752240"/>
              </a:xfrm>
              <a:prstGeom prst="rect">
                <a:avLst/>
              </a:prstGeom>
            </p:spPr>
          </p:pic>
        </p:grpSp>
        <p:pic>
          <p:nvPicPr>
            <p:cNvPr id="76" name="Picture 7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40527" y="708642"/>
              <a:ext cx="2122046" cy="383337"/>
            </a:xfrm>
            <a:prstGeom prst="rect">
              <a:avLst/>
            </a:prstGeom>
          </p:spPr>
        </p:pic>
      </p:grpSp>
      <p:grpSp>
        <p:nvGrpSpPr>
          <p:cNvPr id="87" name="Group 86"/>
          <p:cNvGrpSpPr/>
          <p:nvPr/>
        </p:nvGrpSpPr>
        <p:grpSpPr>
          <a:xfrm>
            <a:off x="5063437" y="2943751"/>
            <a:ext cx="7154343" cy="3722235"/>
            <a:chOff x="4963580" y="2869939"/>
            <a:chExt cx="7015694" cy="3650099"/>
          </a:xfrm>
        </p:grpSpPr>
        <p:grpSp>
          <p:nvGrpSpPr>
            <p:cNvPr id="88" name="Group 87"/>
            <p:cNvGrpSpPr/>
            <p:nvPr/>
          </p:nvGrpSpPr>
          <p:grpSpPr>
            <a:xfrm>
              <a:off x="4963580" y="2869939"/>
              <a:ext cx="7015694" cy="3650099"/>
              <a:chOff x="4963580" y="2869939"/>
              <a:chExt cx="7015694" cy="3650099"/>
            </a:xfrm>
          </p:grpSpPr>
          <p:sp>
            <p:nvSpPr>
              <p:cNvPr id="91" name="Freeform 90"/>
              <p:cNvSpPr/>
              <p:nvPr/>
            </p:nvSpPr>
            <p:spPr bwMode="auto">
              <a:xfrm>
                <a:off x="4963580" y="2869939"/>
                <a:ext cx="7015694" cy="3645162"/>
              </a:xfrm>
              <a:custGeom>
                <a:avLst/>
                <a:gdLst>
                  <a:gd name="connsiteX0" fmla="*/ 0 w 7015694"/>
                  <a:gd name="connsiteY0" fmla="*/ 0 h 3645162"/>
                  <a:gd name="connsiteX1" fmla="*/ 2230415 w 7015694"/>
                  <a:gd name="connsiteY1" fmla="*/ 0 h 3645162"/>
                  <a:gd name="connsiteX2" fmla="*/ 2230415 w 7015694"/>
                  <a:gd name="connsiteY2" fmla="*/ 837534 h 3645162"/>
                  <a:gd name="connsiteX3" fmla="*/ 4679787 w 7015694"/>
                  <a:gd name="connsiteY3" fmla="*/ 837534 h 3645162"/>
                  <a:gd name="connsiteX4" fmla="*/ 4679787 w 7015694"/>
                  <a:gd name="connsiteY4" fmla="*/ 0 h 3645162"/>
                  <a:gd name="connsiteX5" fmla="*/ 7015694 w 7015694"/>
                  <a:gd name="connsiteY5" fmla="*/ 0 h 3645162"/>
                  <a:gd name="connsiteX6" fmla="*/ 7015694 w 7015694"/>
                  <a:gd name="connsiteY6" fmla="*/ 3645162 h 3645162"/>
                  <a:gd name="connsiteX7" fmla="*/ 0 w 7015694"/>
                  <a:gd name="connsiteY7" fmla="*/ 3645162 h 36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5694" h="3645162">
                    <a:moveTo>
                      <a:pt x="0" y="0"/>
                    </a:moveTo>
                    <a:lnTo>
                      <a:pt x="2230415" y="0"/>
                    </a:lnTo>
                    <a:lnTo>
                      <a:pt x="2230415" y="837534"/>
                    </a:lnTo>
                    <a:lnTo>
                      <a:pt x="4679787" y="837534"/>
                    </a:lnTo>
                    <a:lnTo>
                      <a:pt x="4679787" y="0"/>
                    </a:lnTo>
                    <a:lnTo>
                      <a:pt x="7015694" y="0"/>
                    </a:lnTo>
                    <a:lnTo>
                      <a:pt x="7015694" y="3645162"/>
                    </a:lnTo>
                    <a:lnTo>
                      <a:pt x="0" y="3645162"/>
                    </a:lnTo>
                    <a:close/>
                  </a:path>
                </a:pathLst>
              </a:custGeom>
              <a:solidFill>
                <a:srgbClr val="FFFFFF"/>
              </a:solidFill>
              <a:ln w="38100" cap="flat" cmpd="sng" algn="ctr">
                <a:solidFill>
                  <a:srgbClr val="47D8FF"/>
                </a:solid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2" name="Picture 91"/>
              <p:cNvPicPr>
                <a:picLocks noChangeAspect="1"/>
              </p:cNvPicPr>
              <p:nvPr/>
            </p:nvPicPr>
            <p:blipFill rotWithShape="1">
              <a:blip r:embed="rId13">
                <a:extLst>
                  <a:ext uri="{28A0092B-C50C-407E-A947-70E740481C1C}">
                    <a14:useLocalDpi xmlns:a14="http://schemas.microsoft.com/office/drawing/2010/main" val="0"/>
                  </a:ext>
                </a:extLst>
              </a:blip>
              <a:srcRect l="6273" t="30307" r="6273" b="32877"/>
              <a:stretch/>
            </p:blipFill>
            <p:spPr>
              <a:xfrm>
                <a:off x="7859079" y="5959759"/>
                <a:ext cx="1199218" cy="378635"/>
              </a:xfrm>
              <a:prstGeom prst="rect">
                <a:avLst/>
              </a:prstGeom>
            </p:spPr>
          </p:pic>
          <p:pic>
            <p:nvPicPr>
              <p:cNvPr id="93" name="Picture 9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012207" y="5886762"/>
                <a:ext cx="1179623" cy="519034"/>
              </a:xfrm>
              <a:prstGeom prst="rect">
                <a:avLst/>
              </a:prstGeom>
            </p:spPr>
          </p:pic>
          <p:pic>
            <p:nvPicPr>
              <p:cNvPr id="94" name="Picture 93"/>
              <p:cNvPicPr>
                <a:picLocks noChangeAspect="1"/>
              </p:cNvPicPr>
              <p:nvPr/>
            </p:nvPicPr>
            <p:blipFill rotWithShape="1">
              <a:blip r:embed="rId15">
                <a:extLst>
                  <a:ext uri="{28A0092B-C50C-407E-A947-70E740481C1C}">
                    <a14:useLocalDpi xmlns:a14="http://schemas.microsoft.com/office/drawing/2010/main" val="0"/>
                  </a:ext>
                </a:extLst>
              </a:blip>
              <a:srcRect l="11042" r="11042"/>
              <a:stretch/>
            </p:blipFill>
            <p:spPr>
              <a:xfrm>
                <a:off x="5253890" y="3046191"/>
                <a:ext cx="1652236" cy="706854"/>
              </a:xfrm>
              <a:prstGeom prst="rect">
                <a:avLst/>
              </a:prstGeom>
            </p:spPr>
          </p:pic>
          <p:pic>
            <p:nvPicPr>
              <p:cNvPr id="95" name="Picture 9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00850" y="3855921"/>
                <a:ext cx="1280318" cy="563340"/>
              </a:xfrm>
              <a:prstGeom prst="rect">
                <a:avLst/>
              </a:prstGeom>
            </p:spPr>
          </p:pic>
          <p:pic>
            <p:nvPicPr>
              <p:cNvPr id="96" name="Picture 95"/>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507863" y="3905420"/>
                <a:ext cx="1336606" cy="584765"/>
              </a:xfrm>
              <a:prstGeom prst="rect">
                <a:avLst/>
              </a:prstGeom>
            </p:spPr>
          </p:pic>
          <p:pic>
            <p:nvPicPr>
              <p:cNvPr id="97" name="Picture 9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189014" y="4716248"/>
                <a:ext cx="834124" cy="350332"/>
              </a:xfrm>
              <a:prstGeom prst="rect">
                <a:avLst/>
              </a:prstGeom>
            </p:spPr>
          </p:pic>
          <p:pic>
            <p:nvPicPr>
              <p:cNvPr id="98" name="Picture 97"/>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7658598" y="5363567"/>
                <a:ext cx="1600180" cy="293366"/>
              </a:xfrm>
              <a:prstGeom prst="rect">
                <a:avLst/>
              </a:prstGeom>
            </p:spPr>
          </p:pic>
          <p:pic>
            <p:nvPicPr>
              <p:cNvPr id="99" name="Picture 98"/>
              <p:cNvPicPr>
                <a:picLocks noChangeAspect="1"/>
              </p:cNvPicPr>
              <p:nvPr/>
            </p:nvPicPr>
            <p:blipFill rotWithShape="1">
              <a:blip r:embed="rId20"/>
              <a:srcRect l="26686" t="4788" r="63939" b="90446"/>
              <a:stretch/>
            </p:blipFill>
            <p:spPr>
              <a:xfrm>
                <a:off x="5270181" y="3973230"/>
                <a:ext cx="1555040" cy="477660"/>
              </a:xfrm>
              <a:prstGeom prst="rect">
                <a:avLst/>
              </a:prstGeom>
            </p:spPr>
          </p:pic>
          <p:pic>
            <p:nvPicPr>
              <p:cNvPr id="100" name="Picture 99"/>
              <p:cNvPicPr>
                <a:picLocks noChangeAspect="1"/>
              </p:cNvPicPr>
              <p:nvPr/>
            </p:nvPicPr>
            <p:blipFill rotWithShape="1">
              <a:blip r:embed="rId21" cstate="print">
                <a:extLst>
                  <a:ext uri="{28A0092B-C50C-407E-A947-70E740481C1C}">
                    <a14:useLocalDpi xmlns:a14="http://schemas.microsoft.com/office/drawing/2010/main" val="0"/>
                  </a:ext>
                </a:extLst>
              </a:blip>
              <a:srcRect l="23093"/>
              <a:stretch/>
            </p:blipFill>
            <p:spPr>
              <a:xfrm>
                <a:off x="10229850" y="3152716"/>
                <a:ext cx="1672370" cy="550980"/>
              </a:xfrm>
              <a:prstGeom prst="rect">
                <a:avLst/>
              </a:prstGeom>
            </p:spPr>
          </p:pic>
          <p:pic>
            <p:nvPicPr>
              <p:cNvPr id="101" name="Picture 100"/>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436944" y="5136137"/>
                <a:ext cx="1485291" cy="490146"/>
              </a:xfrm>
              <a:prstGeom prst="rect">
                <a:avLst/>
              </a:prstGeom>
            </p:spPr>
          </p:pic>
          <p:pic>
            <p:nvPicPr>
              <p:cNvPr id="102" name="Picture 101"/>
              <p:cNvPicPr>
                <a:picLocks noChangeAspect="1"/>
              </p:cNvPicPr>
              <p:nvPr/>
            </p:nvPicPr>
            <p:blipFill rotWithShape="1">
              <a:blip r:embed="rId23" cstate="print">
                <a:extLst>
                  <a:ext uri="{28A0092B-C50C-407E-A947-70E740481C1C}">
                    <a14:useLocalDpi xmlns:a14="http://schemas.microsoft.com/office/drawing/2010/main" val="0"/>
                  </a:ext>
                </a:extLst>
              </a:blip>
              <a:srcRect l="13629" t="31389" r="21011" b="42778"/>
              <a:stretch/>
            </p:blipFill>
            <p:spPr>
              <a:xfrm>
                <a:off x="5933920" y="4639445"/>
                <a:ext cx="1668343" cy="427427"/>
              </a:xfrm>
              <a:prstGeom prst="rect">
                <a:avLst/>
              </a:prstGeom>
            </p:spPr>
          </p:pic>
          <p:pic>
            <p:nvPicPr>
              <p:cNvPr id="103" name="Picture 10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9899695" y="4616883"/>
                <a:ext cx="1611659" cy="429251"/>
              </a:xfrm>
              <a:prstGeom prst="rect">
                <a:avLst/>
              </a:prstGeom>
            </p:spPr>
          </p:pic>
          <p:pic>
            <p:nvPicPr>
              <p:cNvPr id="104" name="Picture 10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995142" y="5302535"/>
                <a:ext cx="1585096" cy="375083"/>
              </a:xfrm>
              <a:prstGeom prst="rect">
                <a:avLst/>
              </a:prstGeom>
            </p:spPr>
          </p:pic>
          <p:sp>
            <p:nvSpPr>
              <p:cNvPr id="105" name="TextBox 104"/>
              <p:cNvSpPr txBox="1"/>
              <p:nvPr/>
            </p:nvSpPr>
            <p:spPr>
              <a:xfrm>
                <a:off x="4963580" y="5970336"/>
                <a:ext cx="2084866" cy="549702"/>
              </a:xfrm>
              <a:prstGeom prst="rect">
                <a:avLst/>
              </a:prstGeom>
              <a:noFill/>
            </p:spPr>
            <p:txBody>
              <a:bodyPr wrap="none" lIns="186494" tIns="149196" rIns="186494" bIns="149196" rtlCol="0">
                <a:spAutoFit/>
              </a:bodyPr>
              <a:lstStyle/>
              <a:p>
                <a:pPr defTabSz="932418">
                  <a:lnSpc>
                    <a:spcPct val="90000"/>
                  </a:lnSpc>
                  <a:spcAft>
                    <a:spcPts val="612"/>
                  </a:spcAft>
                  <a:defRPr/>
                </a:pPr>
                <a:r>
                  <a:rPr lang="en-US" sz="1836" b="1" kern="0" dirty="0" smtClean="0">
                    <a:gradFill>
                      <a:gsLst>
                        <a:gs pos="2917">
                          <a:srgbClr val="0078D7"/>
                        </a:gs>
                        <a:gs pos="30000">
                          <a:srgbClr val="0078D7"/>
                        </a:gs>
                      </a:gsLst>
                      <a:lin ang="5400000" scaled="0"/>
                    </a:gradFill>
                  </a:rPr>
                  <a:t>COMING SOON</a:t>
                </a:r>
              </a:p>
            </p:txBody>
          </p:sp>
        </p:grpSp>
        <p:pic>
          <p:nvPicPr>
            <p:cNvPr id="89" name="Picture 88"/>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056494" y="3688871"/>
              <a:ext cx="1602262" cy="961357"/>
            </a:xfrm>
            <a:prstGeom prst="rect">
              <a:avLst/>
            </a:prstGeom>
          </p:spPr>
        </p:pic>
        <p:pic>
          <p:nvPicPr>
            <p:cNvPr id="90" name="Picture 8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9832660" y="3240881"/>
              <a:ext cx="344803" cy="344803"/>
            </a:xfrm>
            <a:prstGeom prst="rect">
              <a:avLst/>
            </a:prstGeom>
          </p:spPr>
        </p:pic>
      </p:grpSp>
    </p:spTree>
    <p:extLst>
      <p:ext uri="{BB962C8B-B14F-4D97-AF65-F5344CB8AC3E}">
        <p14:creationId xmlns:p14="http://schemas.microsoft.com/office/powerpoint/2010/main" val="404197671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Freeform 23"/>
          <p:cNvSpPr>
            <a:spLocks noChangeAspect="1" noEditPoints="1"/>
          </p:cNvSpPr>
          <p:nvPr/>
        </p:nvSpPr>
        <p:spPr bwMode="auto">
          <a:xfrm>
            <a:off x="472632" y="6051730"/>
            <a:ext cx="740840" cy="234299"/>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1"/>
          </a:solidFill>
          <a:ln>
            <a:noFill/>
          </a:ln>
          <a:extLst/>
        </p:spPr>
        <p:txBody>
          <a:bodyPr vert="horz" wrap="square" lIns="91414" tIns="45706" rIns="91414" bIns="45706" numCol="1" anchor="t" anchorCtr="0" compatLnSpc="1">
            <a:prstTxWarp prst="textNoShape">
              <a:avLst/>
            </a:prstTxWarp>
          </a:bodyPr>
          <a:lstStyle/>
          <a:p>
            <a:pPr defTabSz="932330"/>
            <a:endParaRPr lang="en-US" sz="1836">
              <a:solidFill>
                <a:srgbClr val="FFFFFF"/>
              </a:solidFill>
              <a:ea typeface="MS PGothic" charset="0"/>
            </a:endParaRPr>
          </a:p>
        </p:txBody>
      </p:sp>
      <p:pic>
        <p:nvPicPr>
          <p:cNvPr id="67" name="Picture 66"/>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66281" y="5463279"/>
            <a:ext cx="1777560" cy="195532"/>
          </a:xfrm>
          <a:prstGeom prst="rect">
            <a:avLst/>
          </a:prstGeom>
          <a:noFill/>
          <a:ln>
            <a:noFill/>
          </a:ln>
        </p:spPr>
      </p:pic>
      <p:pic>
        <p:nvPicPr>
          <p:cNvPr id="68" name="Picture 4"/>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179" t="19832" r="37477" b="31032"/>
          <a:stretch/>
        </p:blipFill>
        <p:spPr bwMode="auto">
          <a:xfrm>
            <a:off x="421839" y="5741580"/>
            <a:ext cx="1513509" cy="2273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 name="TextBox 68"/>
          <p:cNvSpPr txBox="1"/>
          <p:nvPr/>
        </p:nvSpPr>
        <p:spPr>
          <a:xfrm>
            <a:off x="278454" y="3624338"/>
            <a:ext cx="3557284" cy="1722100"/>
          </a:xfrm>
          <a:prstGeom prst="rect">
            <a:avLst/>
          </a:prstGeom>
          <a:noFill/>
        </p:spPr>
        <p:txBody>
          <a:bodyPr wrap="square" lIns="182854" tIns="146283" rIns="182854" bIns="146283" rtlCol="0" anchor="t" anchorCtr="0">
            <a:noAutofit/>
          </a:bodyPr>
          <a:lstStyle/>
          <a:p>
            <a:pPr defTabSz="932597">
              <a:lnSpc>
                <a:spcPct val="90000"/>
              </a:lnSpc>
              <a:spcBef>
                <a:spcPts val="1199"/>
              </a:spcBef>
            </a:pPr>
            <a:r>
              <a:rPr lang="en-US" sz="3999" dirty="0">
                <a:solidFill>
                  <a:srgbClr val="FFFFFF"/>
                </a:solidFill>
                <a:latin typeface="Segoe UI Light"/>
                <a:ea typeface="MS PGothic" charset="0"/>
              </a:rPr>
              <a:t>The Microsoft </a:t>
            </a:r>
          </a:p>
          <a:p>
            <a:pPr defTabSz="932597">
              <a:lnSpc>
                <a:spcPct val="90000"/>
              </a:lnSpc>
              <a:spcBef>
                <a:spcPts val="1199"/>
              </a:spcBef>
            </a:pPr>
            <a:r>
              <a:rPr lang="en-US" sz="3999" dirty="0">
                <a:solidFill>
                  <a:srgbClr val="FFFFFF"/>
                </a:solidFill>
                <a:latin typeface="Segoe UI Light"/>
                <a:ea typeface="MS PGothic" charset="0"/>
              </a:rPr>
              <a:t>data platform</a:t>
            </a:r>
          </a:p>
        </p:txBody>
      </p:sp>
      <p:grpSp>
        <p:nvGrpSpPr>
          <p:cNvPr id="92" name="Group 91"/>
          <p:cNvGrpSpPr/>
          <p:nvPr/>
        </p:nvGrpSpPr>
        <p:grpSpPr>
          <a:xfrm>
            <a:off x="3784946" y="495138"/>
            <a:ext cx="8235849" cy="5803665"/>
            <a:chOff x="3784600" y="494712"/>
            <a:chExt cx="8237017" cy="5804488"/>
          </a:xfrm>
        </p:grpSpPr>
        <p:sp>
          <p:nvSpPr>
            <p:cNvPr id="2" name="Rectangle 1"/>
            <p:cNvSpPr/>
            <p:nvPr/>
          </p:nvSpPr>
          <p:spPr bwMode="auto">
            <a:xfrm>
              <a:off x="10415728" y="5034468"/>
              <a:ext cx="1600427" cy="126473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Internal &amp; external</a:t>
              </a:r>
              <a:endParaRPr lang="en-US" sz="1399" dirty="0">
                <a:solidFill>
                  <a:srgbClr val="FFFFFF"/>
                </a:solidFill>
                <a:ea typeface="MS PGothic" charset="0"/>
              </a:endParaRPr>
            </a:p>
          </p:txBody>
        </p:sp>
        <p:sp>
          <p:nvSpPr>
            <p:cNvPr id="3" name="Rectangle 2"/>
            <p:cNvSpPr/>
            <p:nvPr/>
          </p:nvSpPr>
          <p:spPr bwMode="auto">
            <a:xfrm>
              <a:off x="7102193" y="1105040"/>
              <a:ext cx="1609369" cy="126473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330">
                <a:lnSpc>
                  <a:spcPct val="90000"/>
                </a:lnSpc>
                <a:spcAft>
                  <a:spcPts val="600"/>
                </a:spcAft>
              </a:pPr>
              <a:r>
                <a:rPr lang="en-US" sz="1399">
                  <a:solidFill>
                    <a:srgbClr val="FFFFFF"/>
                  </a:solidFill>
                  <a:ea typeface="MS PGothic" charset="0"/>
                </a:rPr>
                <a:t>Dashboards</a:t>
              </a:r>
              <a:endParaRPr lang="en-US" sz="1399" dirty="0">
                <a:solidFill>
                  <a:srgbClr val="FFFFFF"/>
                </a:solidFill>
                <a:ea typeface="MS PGothic" charset="0"/>
              </a:endParaRPr>
            </a:p>
          </p:txBody>
        </p:sp>
        <p:sp>
          <p:nvSpPr>
            <p:cNvPr id="4" name="Rectangle 3"/>
            <p:cNvSpPr/>
            <p:nvPr/>
          </p:nvSpPr>
          <p:spPr bwMode="auto">
            <a:xfrm>
              <a:off x="5447101" y="1105040"/>
              <a:ext cx="1609369" cy="126473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Reports</a:t>
              </a:r>
              <a:endParaRPr lang="en-US" sz="1399" dirty="0">
                <a:solidFill>
                  <a:srgbClr val="FFFFFF"/>
                </a:solidFill>
                <a:ea typeface="MS PGothic" charset="0"/>
              </a:endParaRPr>
            </a:p>
          </p:txBody>
        </p:sp>
        <p:sp>
          <p:nvSpPr>
            <p:cNvPr id="5" name="Rectangle 4"/>
            <p:cNvSpPr/>
            <p:nvPr/>
          </p:nvSpPr>
          <p:spPr bwMode="auto">
            <a:xfrm>
              <a:off x="8751696" y="1105040"/>
              <a:ext cx="1609369" cy="126473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Ask</a:t>
              </a:r>
              <a:endParaRPr lang="en-US" sz="1399" dirty="0">
                <a:solidFill>
                  <a:srgbClr val="FFFFFF"/>
                </a:solidFill>
                <a:ea typeface="MS PGothic" charset="0"/>
              </a:endParaRPr>
            </a:p>
          </p:txBody>
        </p:sp>
        <p:sp>
          <p:nvSpPr>
            <p:cNvPr id="6" name="Rectangle 5"/>
            <p:cNvSpPr/>
            <p:nvPr/>
          </p:nvSpPr>
          <p:spPr bwMode="auto">
            <a:xfrm>
              <a:off x="10406786" y="1105040"/>
              <a:ext cx="1609369" cy="126473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Mobile</a:t>
              </a:r>
              <a:endParaRPr lang="en-US" sz="1399" dirty="0">
                <a:solidFill>
                  <a:srgbClr val="FFFFFF"/>
                </a:solidFill>
                <a:ea typeface="MS PGothic" charset="0"/>
              </a:endParaRPr>
            </a:p>
          </p:txBody>
        </p:sp>
        <p:sp>
          <p:nvSpPr>
            <p:cNvPr id="7" name="Rectangle 6"/>
            <p:cNvSpPr/>
            <p:nvPr/>
          </p:nvSpPr>
          <p:spPr bwMode="auto">
            <a:xfrm>
              <a:off x="7932329" y="3092352"/>
              <a:ext cx="2013681" cy="1264732"/>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Information management</a:t>
              </a:r>
              <a:endParaRPr lang="en-US" sz="1399" dirty="0">
                <a:solidFill>
                  <a:srgbClr val="FFFFFF"/>
                </a:solidFill>
                <a:ea typeface="MS PGothic" charset="0"/>
              </a:endParaRPr>
            </a:p>
          </p:txBody>
        </p:sp>
        <p:sp>
          <p:nvSpPr>
            <p:cNvPr id="8" name="Rectangle 7"/>
            <p:cNvSpPr/>
            <p:nvPr/>
          </p:nvSpPr>
          <p:spPr bwMode="auto">
            <a:xfrm>
              <a:off x="3784601" y="3092352"/>
              <a:ext cx="2013681" cy="1264732"/>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dirty="0">
                  <a:solidFill>
                    <a:srgbClr val="FFFFFF"/>
                  </a:solidFill>
                  <a:ea typeface="MS PGothic" charset="0"/>
                </a:rPr>
                <a:t>Orchestration</a:t>
              </a:r>
            </a:p>
          </p:txBody>
        </p:sp>
        <p:sp>
          <p:nvSpPr>
            <p:cNvPr id="9" name="Rectangle 8"/>
            <p:cNvSpPr/>
            <p:nvPr/>
          </p:nvSpPr>
          <p:spPr bwMode="auto">
            <a:xfrm>
              <a:off x="5856661" y="3092352"/>
              <a:ext cx="2013681" cy="1264732"/>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Extract, transform, load</a:t>
              </a:r>
              <a:endParaRPr lang="en-US" sz="1399" dirty="0">
                <a:solidFill>
                  <a:srgbClr val="FFFFFF"/>
                </a:solidFill>
                <a:ea typeface="MS PGothic" charset="0"/>
              </a:endParaRPr>
            </a:p>
          </p:txBody>
        </p:sp>
        <p:sp>
          <p:nvSpPr>
            <p:cNvPr id="10" name="Rectangle 9"/>
            <p:cNvSpPr/>
            <p:nvPr/>
          </p:nvSpPr>
          <p:spPr bwMode="auto">
            <a:xfrm>
              <a:off x="10007936" y="3092352"/>
              <a:ext cx="2013681" cy="1264732"/>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Prediction</a:t>
              </a:r>
              <a:endParaRPr lang="en-US" sz="1399" dirty="0">
                <a:solidFill>
                  <a:srgbClr val="FFFFFF"/>
                </a:solidFill>
                <a:ea typeface="MS PGothic" charset="0"/>
              </a:endParaRPr>
            </a:p>
          </p:txBody>
        </p:sp>
        <p:sp>
          <p:nvSpPr>
            <p:cNvPr id="11" name="Rectangle 10"/>
            <p:cNvSpPr/>
            <p:nvPr/>
          </p:nvSpPr>
          <p:spPr bwMode="auto">
            <a:xfrm>
              <a:off x="3784600" y="5034468"/>
              <a:ext cx="1609369" cy="126473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Relational</a:t>
              </a:r>
              <a:endParaRPr lang="en-US" sz="1399" dirty="0">
                <a:solidFill>
                  <a:srgbClr val="FFFFFF"/>
                </a:solidFill>
                <a:ea typeface="MS PGothic" charset="0"/>
              </a:endParaRPr>
            </a:p>
          </p:txBody>
        </p:sp>
        <p:sp>
          <p:nvSpPr>
            <p:cNvPr id="12" name="Rectangle 11"/>
            <p:cNvSpPr/>
            <p:nvPr/>
          </p:nvSpPr>
          <p:spPr bwMode="auto">
            <a:xfrm>
              <a:off x="5442382" y="5034468"/>
              <a:ext cx="1609369" cy="1264732"/>
            </a:xfrm>
            <a:prstGeom prst="rect">
              <a:avLst/>
            </a:prstGeom>
            <a:solidFill>
              <a:srgbClr val="005695"/>
            </a:solidFill>
            <a:ln w="76200"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algn="ctr" defTabSz="932114">
                <a:lnSpc>
                  <a:spcPct val="90000"/>
                </a:lnSpc>
                <a:defRPr/>
              </a:pPr>
              <a:r>
                <a:rPr lang="en-US" sz="1399" dirty="0">
                  <a:solidFill>
                    <a:srgbClr val="FFFFFF"/>
                  </a:solidFill>
                  <a:ea typeface="MS PGothic" charset="0"/>
                </a:rPr>
                <a:t>Non-relational</a:t>
              </a:r>
              <a:endParaRPr lang="en-US" kern="0" dirty="0" err="1">
                <a:solidFill>
                  <a:srgbClr val="FFFFFF"/>
                </a:solidFill>
                <a:ea typeface="Segoe UI" pitchFamily="34" charset="0"/>
                <a:cs typeface="Segoe UI" pitchFamily="34" charset="0"/>
              </a:endParaRPr>
            </a:p>
          </p:txBody>
        </p:sp>
        <p:sp>
          <p:nvSpPr>
            <p:cNvPr id="13" name="Rectangle 12"/>
            <p:cNvSpPr/>
            <p:nvPr/>
          </p:nvSpPr>
          <p:spPr bwMode="auto">
            <a:xfrm>
              <a:off x="7100165" y="5034468"/>
              <a:ext cx="1609369" cy="126473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Analytical</a:t>
              </a:r>
              <a:endParaRPr lang="en-US" sz="1399" dirty="0">
                <a:solidFill>
                  <a:srgbClr val="FFFFFF"/>
                </a:solidFill>
                <a:ea typeface="MS PGothic" charset="0"/>
              </a:endParaRPr>
            </a:p>
          </p:txBody>
        </p:sp>
        <p:sp>
          <p:nvSpPr>
            <p:cNvPr id="14" name="Rectangle 13"/>
            <p:cNvSpPr/>
            <p:nvPr/>
          </p:nvSpPr>
          <p:spPr bwMode="auto">
            <a:xfrm>
              <a:off x="3790034" y="1112727"/>
              <a:ext cx="1609369" cy="126473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Apps</a:t>
              </a:r>
              <a:endParaRPr lang="en-US" sz="1399" dirty="0">
                <a:solidFill>
                  <a:srgbClr val="FFFFFF"/>
                </a:solidFill>
                <a:ea typeface="MS PGothic" charset="0"/>
              </a:endParaRPr>
            </a:p>
          </p:txBody>
        </p:sp>
        <p:sp>
          <p:nvSpPr>
            <p:cNvPr id="15" name="Rectangle 14"/>
            <p:cNvSpPr/>
            <p:nvPr/>
          </p:nvSpPr>
          <p:spPr bwMode="auto">
            <a:xfrm>
              <a:off x="8752959" y="5034468"/>
              <a:ext cx="1609369" cy="1264732"/>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b" anchorCtr="0" forceAA="0" compatLnSpc="1">
              <a:prstTxWarp prst="textNoShape">
                <a:avLst/>
              </a:prstTxWarp>
              <a:noAutofit/>
            </a:bodyPr>
            <a:lstStyle/>
            <a:p>
              <a:pPr defTabSz="932597"/>
              <a:r>
                <a:rPr lang="en-US" sz="1399">
                  <a:solidFill>
                    <a:srgbClr val="FFFFFF"/>
                  </a:solidFill>
                  <a:ea typeface="MS PGothic" charset="0"/>
                </a:rPr>
                <a:t>Streaming</a:t>
              </a:r>
              <a:endParaRPr lang="en-US" sz="1399" dirty="0">
                <a:solidFill>
                  <a:srgbClr val="FFFFFF"/>
                </a:solidFill>
                <a:ea typeface="MS PGothic" charset="0"/>
              </a:endParaRPr>
            </a:p>
          </p:txBody>
        </p:sp>
        <p:sp>
          <p:nvSpPr>
            <p:cNvPr id="16" name="Flowchart: Magnetic Disk 86"/>
            <p:cNvSpPr/>
            <p:nvPr/>
          </p:nvSpPr>
          <p:spPr bwMode="auto">
            <a:xfrm flipH="1">
              <a:off x="4296541" y="5267484"/>
              <a:ext cx="251252" cy="301922"/>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a:lnSpc>
                  <a:spcPct val="90000"/>
                </a:lnSpc>
                <a:defRPr/>
              </a:pPr>
              <a:endParaRPr lang="en-US" sz="1198" kern="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hlinkClick r:id="" action="ppaction://noaction"/>
            </p:cNvPr>
            <p:cNvSpPr/>
            <p:nvPr/>
          </p:nvSpPr>
          <p:spPr bwMode="auto">
            <a:xfrm>
              <a:off x="3784601" y="494712"/>
              <a:ext cx="8231555" cy="534710"/>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21" rIns="182828" bIns="45706" numCol="1" spcCol="0" rtlCol="0" fromWordArt="0" anchor="t" anchorCtr="0" forceAA="0" compatLnSpc="1">
              <a:prstTxWarp prst="textNoShape">
                <a:avLst/>
              </a:prstTxWarp>
              <a:noAutofit/>
            </a:bodyPr>
            <a:lstStyle/>
            <a:p>
              <a:pPr defTabSz="776628">
                <a:lnSpc>
                  <a:spcPct val="90000"/>
                </a:lnSpc>
                <a:defRPr/>
              </a:pPr>
              <a:r>
                <a:rPr lang="en-US" sz="1598" kern="0" dirty="0">
                  <a:ln>
                    <a:solidFill>
                      <a:srgbClr val="FFFFFF">
                        <a:alpha val="0"/>
                      </a:srgbClr>
                    </a:solidFill>
                  </a:ln>
                  <a:gradFill>
                    <a:gsLst>
                      <a:gs pos="55000">
                        <a:srgbClr val="505050">
                          <a:lumMod val="75000"/>
                        </a:srgbClr>
                      </a:gs>
                      <a:gs pos="0">
                        <a:srgbClr val="505050">
                          <a:lumMod val="75000"/>
                        </a:srgbClr>
                      </a:gs>
                    </a:gsLst>
                    <a:lin ang="5400000" scaled="0"/>
                  </a:gradFill>
                  <a:latin typeface="Segoe UI Semibold" panose="020B0702040204020203" pitchFamily="34" charset="0"/>
                  <a:ea typeface="MS PGothic" charset="0"/>
                  <a:cs typeface="Segoe UI Semibold" panose="020B0702040204020203" pitchFamily="34" charset="0"/>
                </a:rPr>
                <a:t>VISUALIZE + DECIDE</a:t>
              </a:r>
            </a:p>
          </p:txBody>
        </p:sp>
        <p:sp>
          <p:nvSpPr>
            <p:cNvPr id="18" name="Rectangle 17">
              <a:hlinkClick r:id="" action="ppaction://noaction"/>
            </p:cNvPr>
            <p:cNvSpPr/>
            <p:nvPr/>
          </p:nvSpPr>
          <p:spPr bwMode="auto">
            <a:xfrm>
              <a:off x="3784601" y="2492525"/>
              <a:ext cx="8231555" cy="534710"/>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21" rIns="182828" bIns="45706" numCol="1" spcCol="0" rtlCol="0" fromWordArt="0" anchor="t" anchorCtr="0" forceAA="0" compatLnSpc="1">
              <a:prstTxWarp prst="textNoShape">
                <a:avLst/>
              </a:prstTxWarp>
              <a:noAutofit/>
            </a:bodyPr>
            <a:lstStyle/>
            <a:p>
              <a:pPr defTabSz="776628">
                <a:lnSpc>
                  <a:spcPct val="90000"/>
                </a:lnSpc>
                <a:defRPr/>
              </a:pPr>
              <a:r>
                <a:rPr lang="en-US" sz="1598" kern="0">
                  <a:ln>
                    <a:solidFill>
                      <a:srgbClr val="FFFFFF">
                        <a:alpha val="0"/>
                      </a:srgbClr>
                    </a:solidFill>
                  </a:ln>
                  <a:gradFill>
                    <a:gsLst>
                      <a:gs pos="55000">
                        <a:srgbClr val="505050">
                          <a:lumMod val="75000"/>
                        </a:srgbClr>
                      </a:gs>
                      <a:gs pos="0">
                        <a:srgbClr val="505050">
                          <a:lumMod val="75000"/>
                        </a:srgbClr>
                      </a:gs>
                    </a:gsLst>
                    <a:lin ang="5400000" scaled="0"/>
                  </a:gradFill>
                  <a:latin typeface="Segoe UI Semibold" panose="020B0702040204020203" pitchFamily="34" charset="0"/>
                  <a:ea typeface="MS PGothic" charset="0"/>
                  <a:cs typeface="Segoe UI Semibold" panose="020B0702040204020203" pitchFamily="34" charset="0"/>
                </a:rPr>
                <a:t>TRANSFORM + ANALYZE</a:t>
              </a:r>
              <a:endParaRPr lang="en-US" sz="1598" kern="0" dirty="0">
                <a:ln>
                  <a:solidFill>
                    <a:srgbClr val="FFFFFF">
                      <a:alpha val="0"/>
                    </a:srgbClr>
                  </a:solidFill>
                </a:ln>
                <a:gradFill>
                  <a:gsLst>
                    <a:gs pos="55000">
                      <a:srgbClr val="505050">
                        <a:lumMod val="75000"/>
                      </a:srgbClr>
                    </a:gs>
                    <a:gs pos="0">
                      <a:srgbClr val="505050">
                        <a:lumMod val="75000"/>
                      </a:srgbClr>
                    </a:gs>
                  </a:gsLst>
                  <a:lin ang="5400000" scaled="0"/>
                </a:gradFill>
                <a:latin typeface="Segoe UI Semibold" panose="020B0702040204020203" pitchFamily="34" charset="0"/>
                <a:ea typeface="MS PGothic" charset="0"/>
                <a:cs typeface="Segoe UI Semibold" panose="020B0702040204020203" pitchFamily="34" charset="0"/>
              </a:endParaRPr>
            </a:p>
          </p:txBody>
        </p:sp>
        <p:sp>
          <p:nvSpPr>
            <p:cNvPr id="19" name="Rectangle 18">
              <a:hlinkClick r:id="" action="ppaction://noaction"/>
            </p:cNvPr>
            <p:cNvSpPr/>
            <p:nvPr/>
          </p:nvSpPr>
          <p:spPr bwMode="auto">
            <a:xfrm>
              <a:off x="3784601" y="4438602"/>
              <a:ext cx="8231555" cy="534710"/>
            </a:xfrm>
            <a:prstGeom prst="rect">
              <a:avLst/>
            </a:prstGeom>
            <a:solidFill>
              <a:schemeClr val="bg1">
                <a:lumMod val="9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28" tIns="137121" rIns="182828" bIns="45706" numCol="1" spcCol="0" rtlCol="0" fromWordArt="0" anchor="t" anchorCtr="0" forceAA="0" compatLnSpc="1">
              <a:prstTxWarp prst="textNoShape">
                <a:avLst/>
              </a:prstTxWarp>
              <a:noAutofit/>
            </a:bodyPr>
            <a:lstStyle/>
            <a:p>
              <a:pPr defTabSz="776628">
                <a:lnSpc>
                  <a:spcPct val="90000"/>
                </a:lnSpc>
                <a:defRPr/>
              </a:pPr>
              <a:r>
                <a:rPr lang="en-US" sz="1598" kern="0" dirty="0">
                  <a:ln>
                    <a:solidFill>
                      <a:srgbClr val="FFFFFF">
                        <a:alpha val="0"/>
                      </a:srgbClr>
                    </a:solidFill>
                  </a:ln>
                  <a:gradFill>
                    <a:gsLst>
                      <a:gs pos="55000">
                        <a:srgbClr val="505050">
                          <a:lumMod val="75000"/>
                        </a:srgbClr>
                      </a:gs>
                      <a:gs pos="0">
                        <a:srgbClr val="505050">
                          <a:lumMod val="75000"/>
                        </a:srgbClr>
                      </a:gs>
                    </a:gsLst>
                    <a:lin ang="5400000" scaled="0"/>
                  </a:gradFill>
                  <a:latin typeface="Segoe UI Semibold" panose="020B0702040204020203" pitchFamily="34" charset="0"/>
                  <a:ea typeface="MS PGothic" charset="0"/>
                  <a:cs typeface="Segoe UI Semibold" panose="020B0702040204020203" pitchFamily="34" charset="0"/>
                </a:rPr>
                <a:t>COLLECT + MANAGE</a:t>
              </a:r>
            </a:p>
          </p:txBody>
        </p:sp>
        <p:grpSp>
          <p:nvGrpSpPr>
            <p:cNvPr id="20" name="Group 19"/>
            <p:cNvGrpSpPr/>
            <p:nvPr/>
          </p:nvGrpSpPr>
          <p:grpSpPr>
            <a:xfrm>
              <a:off x="10566777" y="1181305"/>
              <a:ext cx="447998" cy="522487"/>
              <a:chOff x="10280016" y="4544833"/>
              <a:chExt cx="728879" cy="719102"/>
            </a:xfrm>
          </p:grpSpPr>
          <p:grpSp>
            <p:nvGrpSpPr>
              <p:cNvPr id="21" name="Group 20"/>
              <p:cNvGrpSpPr/>
              <p:nvPr/>
            </p:nvGrpSpPr>
            <p:grpSpPr bwMode="black">
              <a:xfrm>
                <a:off x="10280016" y="4544833"/>
                <a:ext cx="728879" cy="719102"/>
                <a:chOff x="2916435" y="3914152"/>
                <a:chExt cx="930763" cy="918513"/>
              </a:xfrm>
            </p:grpSpPr>
            <p:pic>
              <p:nvPicPr>
                <p:cNvPr id="23" name="Picture 2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01" tIns="45700" rIns="91401" bIns="45700" numCol="1" anchor="t" anchorCtr="0" compatLnSpc="1">
                  <a:prstTxWarp prst="textNoShape">
                    <a:avLst/>
                  </a:prstTxWarp>
                </a:bodyPr>
                <a:lstStyle/>
                <a:p>
                  <a:pPr defTabSz="932205">
                    <a:defRPr/>
                  </a:pPr>
                  <a:endParaRPr lang="en-US" sz="900" kern="0" dirty="0">
                    <a:solidFill>
                      <a:srgbClr val="FFFFFF"/>
                    </a:solidFill>
                    <a:ea typeface="MS PGothic" charset="0"/>
                  </a:endParaRPr>
                </a:p>
              </p:txBody>
            </p:sp>
          </p:grpSp>
          <p:sp>
            <p:nvSpPr>
              <p:cNvPr id="22" name="Freeform 21"/>
              <p:cNvSpPr/>
              <p:nvPr>
                <p:custDataLst>
                  <p:tags r:id="rId2"/>
                </p:custDataLst>
              </p:nvPr>
            </p:nvSpPr>
            <p:spPr>
              <a:xfrm>
                <a:off x="10639372" y="4697517"/>
                <a:ext cx="294872" cy="30121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32046">
                  <a:defRPr/>
                </a:pPr>
                <a:endParaRPr lang="en-US" kern="0">
                  <a:solidFill>
                    <a:sysClr val="window" lastClr="FFFFFF"/>
                  </a:solidFill>
                  <a:latin typeface="Arial"/>
                  <a:ea typeface="MS PGothic" charset="0"/>
                </a:endParaRPr>
              </a:p>
            </p:txBody>
          </p:sp>
        </p:grpSp>
        <p:sp>
          <p:nvSpPr>
            <p:cNvPr id="25" name="Freeform 30"/>
            <p:cNvSpPr>
              <a:spLocks noEditPoints="1"/>
            </p:cNvSpPr>
            <p:nvPr/>
          </p:nvSpPr>
          <p:spPr bwMode="auto">
            <a:xfrm>
              <a:off x="5556986" y="1181305"/>
              <a:ext cx="374387" cy="476375"/>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91414" tIns="45706" rIns="91414" bIns="45706" numCol="1" anchor="t" anchorCtr="0" compatLnSpc="1">
              <a:prstTxWarp prst="textNoShape">
                <a:avLst/>
              </a:prstTxWarp>
            </a:bodyPr>
            <a:lstStyle/>
            <a:p>
              <a:pPr defTabSz="913833">
                <a:defRPr/>
              </a:pPr>
              <a:endParaRPr lang="en-US" sz="1700" kern="0">
                <a:solidFill>
                  <a:srgbClr val="000000"/>
                </a:solidFill>
                <a:ea typeface="MS PGothic" charset="0"/>
              </a:endParaRPr>
            </a:p>
          </p:txBody>
        </p:sp>
        <p:sp>
          <p:nvSpPr>
            <p:cNvPr id="26" name="Freeform 8"/>
            <p:cNvSpPr>
              <a:spLocks noEditPoints="1"/>
            </p:cNvSpPr>
            <p:nvPr/>
          </p:nvSpPr>
          <p:spPr bwMode="black">
            <a:xfrm rot="5400000">
              <a:off x="8887709" y="1187931"/>
              <a:ext cx="497252" cy="483997"/>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defTabSz="932563"/>
              <a:endParaRPr lang="en-US" sz="1599">
                <a:solidFill>
                  <a:prstClr val="black"/>
                </a:solidFill>
                <a:ea typeface="MS PGothic" charset="0"/>
                <a:cs typeface="Segoe UI" panose="020B0502040204020203" pitchFamily="34" charset="0"/>
              </a:endParaRPr>
            </a:p>
          </p:txBody>
        </p:sp>
        <p:sp>
          <p:nvSpPr>
            <p:cNvPr id="27" name="Freeform 26"/>
            <p:cNvSpPr/>
            <p:nvPr>
              <p:custDataLst>
                <p:tags r:id="rId1"/>
              </p:custDataLst>
            </p:nvPr>
          </p:nvSpPr>
          <p:spPr>
            <a:xfrm>
              <a:off x="7240144" y="1181305"/>
              <a:ext cx="484412" cy="425364"/>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932330">
                <a:defRPr/>
              </a:pPr>
              <a:endParaRPr lang="en-US" sz="1836" kern="0">
                <a:solidFill>
                  <a:sysClr val="window" lastClr="FFFFFF"/>
                </a:solidFill>
                <a:latin typeface="Arial"/>
                <a:ea typeface="MS PGothic" charset="0"/>
              </a:endParaRPr>
            </a:p>
          </p:txBody>
        </p:sp>
        <p:sp>
          <p:nvSpPr>
            <p:cNvPr id="28" name="Freeform 5"/>
            <p:cNvSpPr>
              <a:spLocks noEditPoints="1"/>
            </p:cNvSpPr>
            <p:nvPr/>
          </p:nvSpPr>
          <p:spPr bwMode="auto">
            <a:xfrm>
              <a:off x="3928547" y="1181305"/>
              <a:ext cx="308993" cy="471470"/>
            </a:xfrm>
            <a:custGeom>
              <a:avLst/>
              <a:gdLst>
                <a:gd name="T0" fmla="*/ 3252 w 3252"/>
                <a:gd name="T1" fmla="*/ 0 h 4962"/>
                <a:gd name="T2" fmla="*/ 3252 w 3252"/>
                <a:gd name="T3" fmla="*/ 1502 h 4962"/>
                <a:gd name="T4" fmla="*/ 1749 w 3252"/>
                <a:gd name="T5" fmla="*/ 1502 h 4962"/>
                <a:gd name="T6" fmla="*/ 1749 w 3252"/>
                <a:gd name="T7" fmla="*/ 0 h 4962"/>
                <a:gd name="T8" fmla="*/ 3252 w 3252"/>
                <a:gd name="T9" fmla="*/ 0 h 4962"/>
                <a:gd name="T10" fmla="*/ 3252 w 3252"/>
                <a:gd name="T11" fmla="*/ 0 h 4962"/>
                <a:gd name="T12" fmla="*/ 3252 w 3252"/>
                <a:gd name="T13" fmla="*/ 0 h 4962"/>
                <a:gd name="T14" fmla="*/ 1749 w 3252"/>
                <a:gd name="T15" fmla="*/ 1727 h 4962"/>
                <a:gd name="T16" fmla="*/ 1749 w 3252"/>
                <a:gd name="T17" fmla="*/ 3236 h 4962"/>
                <a:gd name="T18" fmla="*/ 3252 w 3252"/>
                <a:gd name="T19" fmla="*/ 3236 h 4962"/>
                <a:gd name="T20" fmla="*/ 3252 w 3252"/>
                <a:gd name="T21" fmla="*/ 1727 h 4962"/>
                <a:gd name="T22" fmla="*/ 1749 w 3252"/>
                <a:gd name="T23" fmla="*/ 1727 h 4962"/>
                <a:gd name="T24" fmla="*/ 1749 w 3252"/>
                <a:gd name="T25" fmla="*/ 1727 h 4962"/>
                <a:gd name="T26" fmla="*/ 1749 w 3252"/>
                <a:gd name="T27" fmla="*/ 1727 h 4962"/>
                <a:gd name="T28" fmla="*/ 0 w 3252"/>
                <a:gd name="T29" fmla="*/ 0 h 4962"/>
                <a:gd name="T30" fmla="*/ 0 w 3252"/>
                <a:gd name="T31" fmla="*/ 1502 h 4962"/>
                <a:gd name="T32" fmla="*/ 1524 w 3252"/>
                <a:gd name="T33" fmla="*/ 1502 h 4962"/>
                <a:gd name="T34" fmla="*/ 1524 w 3252"/>
                <a:gd name="T35" fmla="*/ 0 h 4962"/>
                <a:gd name="T36" fmla="*/ 0 w 3252"/>
                <a:gd name="T37" fmla="*/ 0 h 4962"/>
                <a:gd name="T38" fmla="*/ 0 w 3252"/>
                <a:gd name="T39" fmla="*/ 0 h 4962"/>
                <a:gd name="T40" fmla="*/ 0 w 3252"/>
                <a:gd name="T41" fmla="*/ 0 h 4962"/>
                <a:gd name="T42" fmla="*/ 0 w 3252"/>
                <a:gd name="T43" fmla="*/ 1727 h 4962"/>
                <a:gd name="T44" fmla="*/ 0 w 3252"/>
                <a:gd name="T45" fmla="*/ 3236 h 4962"/>
                <a:gd name="T46" fmla="*/ 1524 w 3252"/>
                <a:gd name="T47" fmla="*/ 3236 h 4962"/>
                <a:gd name="T48" fmla="*/ 1524 w 3252"/>
                <a:gd name="T49" fmla="*/ 1727 h 4962"/>
                <a:gd name="T50" fmla="*/ 0 w 3252"/>
                <a:gd name="T51" fmla="*/ 1727 h 4962"/>
                <a:gd name="T52" fmla="*/ 0 w 3252"/>
                <a:gd name="T53" fmla="*/ 1727 h 4962"/>
                <a:gd name="T54" fmla="*/ 0 w 3252"/>
                <a:gd name="T55" fmla="*/ 1727 h 4962"/>
                <a:gd name="T56" fmla="*/ 0 w 3252"/>
                <a:gd name="T57" fmla="*/ 3460 h 4962"/>
                <a:gd name="T58" fmla="*/ 0 w 3252"/>
                <a:gd name="T59" fmla="*/ 4962 h 4962"/>
                <a:gd name="T60" fmla="*/ 3252 w 3252"/>
                <a:gd name="T61" fmla="*/ 4962 h 4962"/>
                <a:gd name="T62" fmla="*/ 3252 w 3252"/>
                <a:gd name="T63" fmla="*/ 3460 h 4962"/>
                <a:gd name="T64" fmla="*/ 0 w 3252"/>
                <a:gd name="T65" fmla="*/ 3460 h 4962"/>
                <a:gd name="T66" fmla="*/ 0 w 3252"/>
                <a:gd name="T67" fmla="*/ 3460 h 4962"/>
                <a:gd name="T68" fmla="*/ 0 w 3252"/>
                <a:gd name="T69" fmla="*/ 3460 h 4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52" h="4962">
                  <a:moveTo>
                    <a:pt x="3252" y="0"/>
                  </a:moveTo>
                  <a:lnTo>
                    <a:pt x="3252" y="1502"/>
                  </a:lnTo>
                  <a:lnTo>
                    <a:pt x="1749" y="1502"/>
                  </a:lnTo>
                  <a:lnTo>
                    <a:pt x="1749" y="0"/>
                  </a:lnTo>
                  <a:lnTo>
                    <a:pt x="3252" y="0"/>
                  </a:lnTo>
                  <a:lnTo>
                    <a:pt x="3252" y="0"/>
                  </a:lnTo>
                  <a:lnTo>
                    <a:pt x="3252" y="0"/>
                  </a:lnTo>
                  <a:close/>
                  <a:moveTo>
                    <a:pt x="1749" y="1727"/>
                  </a:moveTo>
                  <a:lnTo>
                    <a:pt x="1749" y="3236"/>
                  </a:lnTo>
                  <a:lnTo>
                    <a:pt x="3252" y="3236"/>
                  </a:lnTo>
                  <a:lnTo>
                    <a:pt x="3252" y="1727"/>
                  </a:lnTo>
                  <a:lnTo>
                    <a:pt x="1749" y="1727"/>
                  </a:lnTo>
                  <a:lnTo>
                    <a:pt x="1749" y="1727"/>
                  </a:lnTo>
                  <a:lnTo>
                    <a:pt x="1749" y="1727"/>
                  </a:lnTo>
                  <a:close/>
                  <a:moveTo>
                    <a:pt x="0" y="0"/>
                  </a:moveTo>
                  <a:lnTo>
                    <a:pt x="0" y="1502"/>
                  </a:lnTo>
                  <a:lnTo>
                    <a:pt x="1524" y="1502"/>
                  </a:lnTo>
                  <a:lnTo>
                    <a:pt x="1524" y="0"/>
                  </a:lnTo>
                  <a:lnTo>
                    <a:pt x="0" y="0"/>
                  </a:lnTo>
                  <a:lnTo>
                    <a:pt x="0" y="0"/>
                  </a:lnTo>
                  <a:lnTo>
                    <a:pt x="0" y="0"/>
                  </a:lnTo>
                  <a:close/>
                  <a:moveTo>
                    <a:pt x="0" y="1727"/>
                  </a:moveTo>
                  <a:lnTo>
                    <a:pt x="0" y="3236"/>
                  </a:lnTo>
                  <a:lnTo>
                    <a:pt x="1524" y="3236"/>
                  </a:lnTo>
                  <a:lnTo>
                    <a:pt x="1524" y="1727"/>
                  </a:lnTo>
                  <a:lnTo>
                    <a:pt x="0" y="1727"/>
                  </a:lnTo>
                  <a:lnTo>
                    <a:pt x="0" y="1727"/>
                  </a:lnTo>
                  <a:lnTo>
                    <a:pt x="0" y="1727"/>
                  </a:lnTo>
                  <a:close/>
                  <a:moveTo>
                    <a:pt x="0" y="3460"/>
                  </a:moveTo>
                  <a:lnTo>
                    <a:pt x="0" y="4962"/>
                  </a:lnTo>
                  <a:lnTo>
                    <a:pt x="3252" y="4962"/>
                  </a:lnTo>
                  <a:lnTo>
                    <a:pt x="3252" y="3460"/>
                  </a:lnTo>
                  <a:lnTo>
                    <a:pt x="0" y="3460"/>
                  </a:lnTo>
                  <a:lnTo>
                    <a:pt x="0" y="3460"/>
                  </a:lnTo>
                  <a:lnTo>
                    <a:pt x="0" y="3460"/>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ea typeface="MS PGothic" charset="0"/>
              </a:endParaRPr>
            </a:p>
          </p:txBody>
        </p:sp>
        <p:grpSp>
          <p:nvGrpSpPr>
            <p:cNvPr id="29" name="Group 28"/>
            <p:cNvGrpSpPr/>
            <p:nvPr/>
          </p:nvGrpSpPr>
          <p:grpSpPr>
            <a:xfrm>
              <a:off x="3877979" y="3208574"/>
              <a:ext cx="677092" cy="425269"/>
              <a:chOff x="3806692" y="2708346"/>
              <a:chExt cx="531683" cy="333940"/>
            </a:xfrm>
          </p:grpSpPr>
          <p:sp>
            <p:nvSpPr>
              <p:cNvPr id="30" name="Freeform 151"/>
              <p:cNvSpPr>
                <a:spLocks/>
              </p:cNvSpPr>
              <p:nvPr/>
            </p:nvSpPr>
            <p:spPr bwMode="auto">
              <a:xfrm>
                <a:off x="3806692" y="2780149"/>
                <a:ext cx="531683" cy="190904"/>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33">
                  <a:defRPr/>
                </a:pPr>
                <a:endParaRPr lang="en-US" sz="1700" kern="0">
                  <a:solidFill>
                    <a:srgbClr val="000000"/>
                  </a:solidFill>
                  <a:ea typeface="MS PGothic" charset="0"/>
                </a:endParaRPr>
              </a:p>
            </p:txBody>
          </p:sp>
          <p:sp>
            <p:nvSpPr>
              <p:cNvPr id="31" name="Freeform 154"/>
              <p:cNvSpPr>
                <a:spLocks noEditPoints="1"/>
              </p:cNvSpPr>
              <p:nvPr/>
            </p:nvSpPr>
            <p:spPr bwMode="auto">
              <a:xfrm>
                <a:off x="3952007" y="2708346"/>
                <a:ext cx="267836" cy="20857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33">
                  <a:defRPr/>
                </a:pPr>
                <a:endParaRPr lang="en-US" sz="1700" kern="0">
                  <a:solidFill>
                    <a:srgbClr val="000000"/>
                  </a:solidFill>
                  <a:ea typeface="MS PGothic" charset="0"/>
                </a:endParaRPr>
              </a:p>
            </p:txBody>
          </p:sp>
          <p:sp>
            <p:nvSpPr>
              <p:cNvPr id="32" name="Freeform 152"/>
              <p:cNvSpPr>
                <a:spLocks/>
              </p:cNvSpPr>
              <p:nvPr/>
            </p:nvSpPr>
            <p:spPr bwMode="auto">
              <a:xfrm>
                <a:off x="3952007" y="2984730"/>
                <a:ext cx="267836" cy="57556"/>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13833">
                  <a:defRPr/>
                </a:pPr>
                <a:endParaRPr lang="en-US" sz="1700" kern="0">
                  <a:solidFill>
                    <a:srgbClr val="000000"/>
                  </a:solidFill>
                  <a:ea typeface="MS PGothic" charset="0"/>
                </a:endParaRPr>
              </a:p>
            </p:txBody>
          </p:sp>
        </p:grpSp>
        <p:grpSp>
          <p:nvGrpSpPr>
            <p:cNvPr id="33" name="Group 32"/>
            <p:cNvGrpSpPr/>
            <p:nvPr/>
          </p:nvGrpSpPr>
          <p:grpSpPr>
            <a:xfrm>
              <a:off x="5979909" y="3150208"/>
              <a:ext cx="368528" cy="541996"/>
              <a:chOff x="5948760" y="2690762"/>
              <a:chExt cx="306312" cy="450495"/>
            </a:xfrm>
          </p:grpSpPr>
          <p:sp>
            <p:nvSpPr>
              <p:cNvPr id="34" name="Freeform 33"/>
              <p:cNvSpPr/>
              <p:nvPr/>
            </p:nvSpPr>
            <p:spPr>
              <a:xfrm>
                <a:off x="5948760" y="2814783"/>
                <a:ext cx="238884" cy="326474"/>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w="10795" cap="flat" cmpd="sng" algn="ctr">
                <a:noFill/>
                <a:prstDash val="solid"/>
              </a:ln>
              <a:effectLst/>
            </p:spPr>
            <p:txBody>
              <a:bodyPr rtlCol="0" anchor="ctr"/>
              <a:lstStyle/>
              <a:p>
                <a:pPr algn="ctr" defTabSz="932330">
                  <a:defRPr/>
                </a:pPr>
                <a:endParaRPr lang="en-US" sz="1836" kern="0">
                  <a:solidFill>
                    <a:srgbClr val="FFFFFF"/>
                  </a:solidFill>
                  <a:ea typeface="MS PGothic" charset="0"/>
                </a:endParaRPr>
              </a:p>
            </p:txBody>
          </p:sp>
          <p:sp>
            <p:nvSpPr>
              <p:cNvPr id="35" name="Oval 34"/>
              <p:cNvSpPr/>
              <p:nvPr/>
            </p:nvSpPr>
            <p:spPr>
              <a:xfrm>
                <a:off x="5968563" y="2830179"/>
                <a:ext cx="193953" cy="64906"/>
              </a:xfrm>
              <a:prstGeom prst="ellipse">
                <a:avLst/>
              </a:prstGeom>
              <a:solidFill>
                <a:schemeClr val="bg1"/>
              </a:solidFill>
              <a:ln w="10795" cap="flat" cmpd="sng" algn="ctr">
                <a:noFill/>
                <a:prstDash val="solid"/>
              </a:ln>
              <a:effectLst/>
            </p:spPr>
            <p:txBody>
              <a:bodyPr rtlCol="0" anchor="ctr"/>
              <a:lstStyle/>
              <a:p>
                <a:pPr algn="ctr" defTabSz="932330">
                  <a:defRPr/>
                </a:pPr>
                <a:endParaRPr lang="en-US" sz="1836" kern="0">
                  <a:solidFill>
                    <a:srgbClr val="FFFFFF"/>
                  </a:solidFill>
                  <a:ea typeface="MS PGothic" charset="0"/>
                </a:endParaRPr>
              </a:p>
            </p:txBody>
          </p:sp>
          <p:sp>
            <p:nvSpPr>
              <p:cNvPr id="36" name="Freeform 35"/>
              <p:cNvSpPr>
                <a:spLocks/>
              </p:cNvSpPr>
              <p:nvPr/>
            </p:nvSpPr>
            <p:spPr bwMode="auto">
              <a:xfrm rot="4500000">
                <a:off x="6024600" y="2688668"/>
                <a:ext cx="228377" cy="232566"/>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rgbClr val="FFFFFF"/>
              </a:solidFill>
              <a:ln w="9525">
                <a:solidFill>
                  <a:schemeClr val="accent4"/>
                </a:solidFill>
                <a:round/>
                <a:headEnd/>
                <a:tailEnd/>
              </a:ln>
            </p:spPr>
            <p:txBody>
              <a:bodyPr vert="horz" wrap="square" lIns="91414" tIns="45706" rIns="91414" bIns="45706" numCol="1" anchor="t" anchorCtr="0" compatLnSpc="1">
                <a:prstTxWarp prst="textNoShape">
                  <a:avLst/>
                </a:prstTxWarp>
              </a:bodyPr>
              <a:lstStyle/>
              <a:p>
                <a:pPr defTabSz="932330">
                  <a:defRPr/>
                </a:pPr>
                <a:endParaRPr lang="en-US" sz="1836" kern="0">
                  <a:solidFill>
                    <a:srgbClr val="000000"/>
                  </a:solidFill>
                  <a:ea typeface="MS PGothic" charset="0"/>
                </a:endParaRPr>
              </a:p>
            </p:txBody>
          </p:sp>
        </p:grpSp>
        <p:sp>
          <p:nvSpPr>
            <p:cNvPr id="37" name="Freeform 36"/>
            <p:cNvSpPr>
              <a:spLocks noEditPoints="1"/>
            </p:cNvSpPr>
            <p:nvPr/>
          </p:nvSpPr>
          <p:spPr bwMode="black">
            <a:xfrm>
              <a:off x="8086901" y="3187032"/>
              <a:ext cx="466428" cy="468349"/>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4" tIns="46632" rIns="93264" bIns="46632"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endParaRPr lang="en-US" dirty="0">
                <a:solidFill>
                  <a:srgbClr val="000000"/>
                </a:solidFill>
              </a:endParaRPr>
            </a:p>
          </p:txBody>
        </p:sp>
        <p:grpSp>
          <p:nvGrpSpPr>
            <p:cNvPr id="38" name="Group 37"/>
            <p:cNvGrpSpPr/>
            <p:nvPr/>
          </p:nvGrpSpPr>
          <p:grpSpPr>
            <a:xfrm>
              <a:off x="10121281" y="3169692"/>
              <a:ext cx="294446" cy="503031"/>
              <a:chOff x="10211094" y="2707362"/>
              <a:chExt cx="251764" cy="430113"/>
            </a:xfrm>
          </p:grpSpPr>
          <p:sp>
            <p:nvSpPr>
              <p:cNvPr id="39" name="Freeform 38"/>
              <p:cNvSpPr>
                <a:spLocks/>
              </p:cNvSpPr>
              <p:nvPr/>
            </p:nvSpPr>
            <p:spPr bwMode="auto">
              <a:xfrm>
                <a:off x="10242088"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70830">
                  <a:defRPr/>
                </a:pPr>
                <a:endParaRPr lang="en-US" sz="700" b="1" kern="0" cap="all" dirty="0">
                  <a:solidFill>
                    <a:srgbClr val="000000"/>
                  </a:solidFill>
                </a:endParaRPr>
              </a:p>
            </p:txBody>
          </p:sp>
          <p:sp>
            <p:nvSpPr>
              <p:cNvPr id="40" name="Freeform 39"/>
              <p:cNvSpPr>
                <a:spLocks noEditPoints="1"/>
              </p:cNvSpPr>
              <p:nvPr/>
            </p:nvSpPr>
            <p:spPr bwMode="auto">
              <a:xfrm>
                <a:off x="10211094"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70830">
                  <a:defRPr/>
                </a:pPr>
                <a:endParaRPr lang="en-US" sz="700" b="1" kern="0" cap="all" dirty="0">
                  <a:solidFill>
                    <a:srgbClr val="000000"/>
                  </a:solidFill>
                </a:endParaRPr>
              </a:p>
            </p:txBody>
          </p:sp>
        </p:grpSp>
        <p:sp>
          <p:nvSpPr>
            <p:cNvPr id="41" name="Flowchart: Magnetic Disk 86"/>
            <p:cNvSpPr/>
            <p:nvPr/>
          </p:nvSpPr>
          <p:spPr bwMode="auto">
            <a:xfrm flipH="1">
              <a:off x="3899463" y="5122340"/>
              <a:ext cx="365547" cy="439269"/>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a:lnSpc>
                  <a:spcPct val="90000"/>
                </a:lnSpc>
                <a:defRPr/>
              </a:pPr>
              <a:endParaRPr lang="en-US" sz="1198" kern="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a:xfrm>
              <a:off x="5996695" y="5117676"/>
              <a:ext cx="600398" cy="376738"/>
            </a:xfrm>
            <a:prstGeom prst="rect">
              <a:avLst/>
            </a:prstGeom>
          </p:spPr>
          <p:txBody>
            <a:bodyPr wrap="square">
              <a:spAutoFit/>
            </a:bodyPr>
            <a:lstStyle/>
            <a:p>
              <a:pPr algn="ctr" defTabSz="950846">
                <a:defRPr/>
              </a:pPr>
              <a:r>
                <a:rPr lang="en-US" b="1" kern="0" dirty="0">
                  <a:ln>
                    <a:solidFill>
                      <a:prstClr val="white">
                        <a:alpha val="0"/>
                      </a:prstClr>
                    </a:solidFill>
                  </a:ln>
                  <a:solidFill>
                    <a:prstClr val="white"/>
                  </a:solidFill>
                  <a:ea typeface="Segoe UI" panose="020B0502040204020203" pitchFamily="34" charset="0"/>
                  <a:cs typeface="Segoe UI" panose="020B0502040204020203" pitchFamily="34" charset="0"/>
                </a:rPr>
                <a:t>{ }</a:t>
              </a:r>
            </a:p>
          </p:txBody>
        </p:sp>
        <p:sp>
          <p:nvSpPr>
            <p:cNvPr id="43" name="Freeform 8"/>
            <p:cNvSpPr>
              <a:spLocks noEditPoints="1"/>
            </p:cNvSpPr>
            <p:nvPr/>
          </p:nvSpPr>
          <p:spPr bwMode="black">
            <a:xfrm rot="5400000">
              <a:off x="6520840" y="5116780"/>
              <a:ext cx="471516" cy="433735"/>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293" tIns="41147" rIns="82293" bIns="41147" numCol="1" anchor="t" anchorCtr="0" compatLnSpc="1">
              <a:prstTxWarp prst="textNoShape">
                <a:avLst/>
              </a:prstTxWarp>
            </a:bodyPr>
            <a:lstStyle/>
            <a:p>
              <a:pPr defTabSz="932563"/>
              <a:endParaRPr lang="en-US" sz="1599">
                <a:solidFill>
                  <a:prstClr val="black"/>
                </a:solidFill>
                <a:ea typeface="MS PGothic" charset="0"/>
                <a:cs typeface="Segoe UI" panose="020B0502040204020203" pitchFamily="34" charset="0"/>
              </a:endParaRPr>
            </a:p>
          </p:txBody>
        </p:sp>
        <p:grpSp>
          <p:nvGrpSpPr>
            <p:cNvPr id="44" name="Group 43"/>
            <p:cNvGrpSpPr/>
            <p:nvPr/>
          </p:nvGrpSpPr>
          <p:grpSpPr>
            <a:xfrm>
              <a:off x="7196463" y="5100519"/>
              <a:ext cx="438645" cy="495959"/>
              <a:chOff x="8052696" y="5610491"/>
              <a:chExt cx="375060" cy="424066"/>
            </a:xfrm>
          </p:grpSpPr>
          <p:sp>
            <p:nvSpPr>
              <p:cNvPr id="45" name="Freeform 67"/>
              <p:cNvSpPr>
                <a:spLocks/>
              </p:cNvSpPr>
              <p:nvPr/>
            </p:nvSpPr>
            <p:spPr bwMode="auto">
              <a:xfrm>
                <a:off x="8052696" y="5610491"/>
                <a:ext cx="375060" cy="213972"/>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solidFill>
                  <a:schemeClr val="accent1"/>
                </a:solidFill>
              </a:ln>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46" name="Freeform 68"/>
              <p:cNvSpPr>
                <a:spLocks/>
              </p:cNvSpPr>
              <p:nvPr/>
            </p:nvSpPr>
            <p:spPr bwMode="auto">
              <a:xfrm>
                <a:off x="8241027" y="5711195"/>
                <a:ext cx="182720" cy="323362"/>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solidFill>
                  <a:schemeClr val="accent1"/>
                </a:solidFill>
              </a:ln>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47" name="Freeform 69"/>
              <p:cNvSpPr>
                <a:spLocks/>
              </p:cNvSpPr>
              <p:nvPr/>
            </p:nvSpPr>
            <p:spPr bwMode="auto">
              <a:xfrm>
                <a:off x="8058443" y="5711195"/>
                <a:ext cx="185124" cy="323362"/>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solidFill>
                  <a:schemeClr val="accent1"/>
                </a:solidFill>
              </a:ln>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grpSp>
        <p:sp>
          <p:nvSpPr>
            <p:cNvPr id="48" name="TextBox 47"/>
            <p:cNvSpPr txBox="1"/>
            <p:nvPr/>
          </p:nvSpPr>
          <p:spPr>
            <a:xfrm>
              <a:off x="10311770" y="5096608"/>
              <a:ext cx="765508" cy="508465"/>
            </a:xfrm>
            <a:prstGeom prst="rect">
              <a:avLst/>
            </a:prstGeom>
            <a:noFill/>
          </p:spPr>
          <p:txBody>
            <a:bodyPr wrap="square" lIns="0" tIns="0" rIns="0" bIns="0" rtlCol="0">
              <a:spAutoFit/>
            </a:bodyPr>
            <a:lstStyle/>
            <a:p>
              <a:pPr algn="ctr" defTabSz="932046">
                <a:lnSpc>
                  <a:spcPct val="90000"/>
                </a:lnSpc>
                <a:defRPr/>
              </a:pPr>
              <a:r>
                <a:rPr lang="en-US" sz="3599" b="1" kern="0" dirty="0">
                  <a:solidFill>
                    <a:srgbClr val="FFFFFF"/>
                  </a:solidFill>
                  <a:ea typeface="MS PGothic" charset="0"/>
                  <a:sym typeface="Wingdings" panose="05000000000000000000" pitchFamily="2" charset="2"/>
                </a:rPr>
                <a:t></a:t>
              </a:r>
              <a:endParaRPr lang="en-US" sz="3599" b="1" kern="0" dirty="0">
                <a:solidFill>
                  <a:srgbClr val="FFFFFF"/>
                </a:solidFill>
                <a:ea typeface="MS PGothic" charset="0"/>
              </a:endParaRPr>
            </a:p>
          </p:txBody>
        </p:sp>
        <p:grpSp>
          <p:nvGrpSpPr>
            <p:cNvPr id="49" name="Group 48"/>
            <p:cNvGrpSpPr/>
            <p:nvPr/>
          </p:nvGrpSpPr>
          <p:grpSpPr>
            <a:xfrm>
              <a:off x="8894336" y="5136592"/>
              <a:ext cx="438522" cy="419373"/>
              <a:chOff x="9741727" y="5641336"/>
              <a:chExt cx="374955" cy="358582"/>
            </a:xfrm>
          </p:grpSpPr>
          <p:sp>
            <p:nvSpPr>
              <p:cNvPr id="50" name="Freeform 7"/>
              <p:cNvSpPr>
                <a:spLocks/>
              </p:cNvSpPr>
              <p:nvPr/>
            </p:nvSpPr>
            <p:spPr bwMode="auto">
              <a:xfrm>
                <a:off x="9751345" y="5641336"/>
                <a:ext cx="47582" cy="109438"/>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1" name="Freeform 8"/>
              <p:cNvSpPr>
                <a:spLocks noEditPoints="1"/>
              </p:cNvSpPr>
              <p:nvPr/>
            </p:nvSpPr>
            <p:spPr bwMode="auto">
              <a:xfrm>
                <a:off x="9818567" y="5641336"/>
                <a:ext cx="76132" cy="109438"/>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2" name="Freeform 9"/>
              <p:cNvSpPr>
                <a:spLocks/>
              </p:cNvSpPr>
              <p:nvPr/>
            </p:nvSpPr>
            <p:spPr bwMode="auto">
              <a:xfrm>
                <a:off x="9900456" y="5641336"/>
                <a:ext cx="46630" cy="109438"/>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3" name="Freeform 10"/>
              <p:cNvSpPr>
                <a:spLocks noEditPoints="1"/>
              </p:cNvSpPr>
              <p:nvPr/>
            </p:nvSpPr>
            <p:spPr bwMode="auto">
              <a:xfrm>
                <a:off x="9741727" y="5765432"/>
                <a:ext cx="76132" cy="110390"/>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4" name="Freeform 11"/>
              <p:cNvSpPr>
                <a:spLocks/>
              </p:cNvSpPr>
              <p:nvPr/>
            </p:nvSpPr>
            <p:spPr bwMode="auto">
              <a:xfrm>
                <a:off x="9828185" y="5765608"/>
                <a:ext cx="47582" cy="10848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5" name="Freeform 12"/>
              <p:cNvSpPr>
                <a:spLocks noEditPoints="1"/>
              </p:cNvSpPr>
              <p:nvPr/>
            </p:nvSpPr>
            <p:spPr bwMode="auto">
              <a:xfrm>
                <a:off x="9889974" y="5765432"/>
                <a:ext cx="76132" cy="110390"/>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6" name="Freeform 13"/>
              <p:cNvSpPr>
                <a:spLocks noEditPoints="1"/>
              </p:cNvSpPr>
              <p:nvPr/>
            </p:nvSpPr>
            <p:spPr bwMode="auto">
              <a:xfrm>
                <a:off x="9741727" y="5890480"/>
                <a:ext cx="76132" cy="109438"/>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7" name="Freeform 14"/>
              <p:cNvSpPr>
                <a:spLocks noEditPoints="1"/>
              </p:cNvSpPr>
              <p:nvPr/>
            </p:nvSpPr>
            <p:spPr bwMode="auto">
              <a:xfrm>
                <a:off x="9818567" y="5890480"/>
                <a:ext cx="76132" cy="109438"/>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8" name="Freeform 15"/>
              <p:cNvSpPr>
                <a:spLocks/>
              </p:cNvSpPr>
              <p:nvPr/>
            </p:nvSpPr>
            <p:spPr bwMode="auto">
              <a:xfrm>
                <a:off x="9900456" y="5890656"/>
                <a:ext cx="46630" cy="107534"/>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59" name="Freeform 16"/>
              <p:cNvSpPr>
                <a:spLocks/>
              </p:cNvSpPr>
              <p:nvPr/>
            </p:nvSpPr>
            <p:spPr bwMode="auto">
              <a:xfrm>
                <a:off x="10050167" y="5641336"/>
                <a:ext cx="47582" cy="109438"/>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60" name="Freeform 17"/>
              <p:cNvSpPr>
                <a:spLocks noEditPoints="1"/>
              </p:cNvSpPr>
              <p:nvPr/>
            </p:nvSpPr>
            <p:spPr bwMode="auto">
              <a:xfrm>
                <a:off x="10040550" y="5765432"/>
                <a:ext cx="76132" cy="110390"/>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61" name="Freeform 18"/>
              <p:cNvSpPr>
                <a:spLocks noEditPoints="1"/>
              </p:cNvSpPr>
              <p:nvPr/>
            </p:nvSpPr>
            <p:spPr bwMode="auto">
              <a:xfrm>
                <a:off x="10040550" y="5890480"/>
                <a:ext cx="76132" cy="109438"/>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62" name="Freeform 19"/>
              <p:cNvSpPr>
                <a:spLocks noEditPoints="1"/>
              </p:cNvSpPr>
              <p:nvPr/>
            </p:nvSpPr>
            <p:spPr bwMode="auto">
              <a:xfrm>
                <a:off x="9963710" y="5641336"/>
                <a:ext cx="76132" cy="109438"/>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63" name="Freeform 20"/>
              <p:cNvSpPr>
                <a:spLocks/>
              </p:cNvSpPr>
              <p:nvPr/>
            </p:nvSpPr>
            <p:spPr bwMode="auto">
              <a:xfrm>
                <a:off x="9973327" y="5765608"/>
                <a:ext cx="47582" cy="10848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sp>
            <p:nvSpPr>
              <p:cNvPr id="64" name="Freeform 21"/>
              <p:cNvSpPr>
                <a:spLocks noEditPoints="1"/>
              </p:cNvSpPr>
              <p:nvPr/>
            </p:nvSpPr>
            <p:spPr bwMode="auto">
              <a:xfrm>
                <a:off x="9963710" y="5890480"/>
                <a:ext cx="76132" cy="109438"/>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30">
                  <a:defRPr/>
                </a:pPr>
                <a:endParaRPr lang="en-US" sz="1198" kern="0">
                  <a:solidFill>
                    <a:srgbClr val="000000"/>
                  </a:solidFill>
                  <a:ea typeface="MS PGothic" charset="0"/>
                </a:endParaRPr>
              </a:p>
            </p:txBody>
          </p:sp>
        </p:grpSp>
        <p:grpSp>
          <p:nvGrpSpPr>
            <p:cNvPr id="91" name="Group 90"/>
            <p:cNvGrpSpPr/>
            <p:nvPr/>
          </p:nvGrpSpPr>
          <p:grpSpPr>
            <a:xfrm>
              <a:off x="5517356" y="5124451"/>
              <a:ext cx="609241" cy="483840"/>
              <a:chOff x="5621256" y="5500688"/>
              <a:chExt cx="790631" cy="627895"/>
            </a:xfrm>
          </p:grpSpPr>
          <p:sp>
            <p:nvSpPr>
              <p:cNvPr id="89" name="Freeform 88"/>
              <p:cNvSpPr/>
              <p:nvPr/>
            </p:nvSpPr>
            <p:spPr bwMode="auto">
              <a:xfrm>
                <a:off x="5628730" y="5522725"/>
                <a:ext cx="773569" cy="591394"/>
              </a:xfrm>
              <a:custGeom>
                <a:avLst/>
                <a:gdLst>
                  <a:gd name="connsiteX0" fmla="*/ 276225 w 5753100"/>
                  <a:gd name="connsiteY0" fmla="*/ 1428750 h 4533900"/>
                  <a:gd name="connsiteX1" fmla="*/ 19050 w 5753100"/>
                  <a:gd name="connsiteY1" fmla="*/ 1581150 h 4533900"/>
                  <a:gd name="connsiteX2" fmla="*/ 0 w 5753100"/>
                  <a:gd name="connsiteY2" fmla="*/ 1762125 h 4533900"/>
                  <a:gd name="connsiteX3" fmla="*/ 85725 w 5753100"/>
                  <a:gd name="connsiteY3" fmla="*/ 2038350 h 4533900"/>
                  <a:gd name="connsiteX4" fmla="*/ 428625 w 5753100"/>
                  <a:gd name="connsiteY4" fmla="*/ 2133600 h 4533900"/>
                  <a:gd name="connsiteX5" fmla="*/ 390525 w 5753100"/>
                  <a:gd name="connsiteY5" fmla="*/ 3038475 h 4533900"/>
                  <a:gd name="connsiteX6" fmla="*/ 95250 w 5753100"/>
                  <a:gd name="connsiteY6" fmla="*/ 3324225 h 4533900"/>
                  <a:gd name="connsiteX7" fmla="*/ 161925 w 5753100"/>
                  <a:gd name="connsiteY7" fmla="*/ 3629025 h 4533900"/>
                  <a:gd name="connsiteX8" fmla="*/ 457200 w 5753100"/>
                  <a:gd name="connsiteY8" fmla="*/ 3876675 h 4533900"/>
                  <a:gd name="connsiteX9" fmla="*/ 752475 w 5753100"/>
                  <a:gd name="connsiteY9" fmla="*/ 3933825 h 4533900"/>
                  <a:gd name="connsiteX10" fmla="*/ 733425 w 5753100"/>
                  <a:gd name="connsiteY10" fmla="*/ 4219575 h 4533900"/>
                  <a:gd name="connsiteX11" fmla="*/ 733425 w 5753100"/>
                  <a:gd name="connsiteY11" fmla="*/ 4305300 h 4533900"/>
                  <a:gd name="connsiteX12" fmla="*/ 1295400 w 5753100"/>
                  <a:gd name="connsiteY12" fmla="*/ 4438650 h 4533900"/>
                  <a:gd name="connsiteX13" fmla="*/ 1524000 w 5753100"/>
                  <a:gd name="connsiteY13" fmla="*/ 4419600 h 4533900"/>
                  <a:gd name="connsiteX14" fmla="*/ 1571625 w 5753100"/>
                  <a:gd name="connsiteY14" fmla="*/ 4210050 h 4533900"/>
                  <a:gd name="connsiteX15" fmla="*/ 1666875 w 5753100"/>
                  <a:gd name="connsiteY15" fmla="*/ 3943350 h 4533900"/>
                  <a:gd name="connsiteX16" fmla="*/ 1733550 w 5753100"/>
                  <a:gd name="connsiteY16" fmla="*/ 3695700 h 4533900"/>
                  <a:gd name="connsiteX17" fmla="*/ 2381250 w 5753100"/>
                  <a:gd name="connsiteY17" fmla="*/ 3695700 h 4533900"/>
                  <a:gd name="connsiteX18" fmla="*/ 2124075 w 5753100"/>
                  <a:gd name="connsiteY18" fmla="*/ 3848100 h 4533900"/>
                  <a:gd name="connsiteX19" fmla="*/ 2114550 w 5753100"/>
                  <a:gd name="connsiteY19" fmla="*/ 4019550 h 4533900"/>
                  <a:gd name="connsiteX20" fmla="*/ 2400300 w 5753100"/>
                  <a:gd name="connsiteY20" fmla="*/ 4505325 h 4533900"/>
                  <a:gd name="connsiteX21" fmla="*/ 2647950 w 5753100"/>
                  <a:gd name="connsiteY21" fmla="*/ 4533900 h 4533900"/>
                  <a:gd name="connsiteX22" fmla="*/ 2876550 w 5753100"/>
                  <a:gd name="connsiteY22" fmla="*/ 4371975 h 4533900"/>
                  <a:gd name="connsiteX23" fmla="*/ 3200400 w 5753100"/>
                  <a:gd name="connsiteY23" fmla="*/ 4095750 h 4533900"/>
                  <a:gd name="connsiteX24" fmla="*/ 3324225 w 5753100"/>
                  <a:gd name="connsiteY24" fmla="*/ 4124325 h 4533900"/>
                  <a:gd name="connsiteX25" fmla="*/ 3457575 w 5753100"/>
                  <a:gd name="connsiteY25" fmla="*/ 4143375 h 4533900"/>
                  <a:gd name="connsiteX26" fmla="*/ 3800475 w 5753100"/>
                  <a:gd name="connsiteY26" fmla="*/ 4152900 h 4533900"/>
                  <a:gd name="connsiteX27" fmla="*/ 3914775 w 5753100"/>
                  <a:gd name="connsiteY27" fmla="*/ 4048125 h 4533900"/>
                  <a:gd name="connsiteX28" fmla="*/ 3876675 w 5753100"/>
                  <a:gd name="connsiteY28" fmla="*/ 3467100 h 4533900"/>
                  <a:gd name="connsiteX29" fmla="*/ 3733800 w 5753100"/>
                  <a:gd name="connsiteY29" fmla="*/ 3095625 h 4533900"/>
                  <a:gd name="connsiteX30" fmla="*/ 3686175 w 5753100"/>
                  <a:gd name="connsiteY30" fmla="*/ 2895600 h 4533900"/>
                  <a:gd name="connsiteX31" fmla="*/ 3867150 w 5753100"/>
                  <a:gd name="connsiteY31" fmla="*/ 2952750 h 4533900"/>
                  <a:gd name="connsiteX32" fmla="*/ 4057650 w 5753100"/>
                  <a:gd name="connsiteY32" fmla="*/ 3133725 h 4533900"/>
                  <a:gd name="connsiteX33" fmla="*/ 4181475 w 5753100"/>
                  <a:gd name="connsiteY33" fmla="*/ 3219450 h 4533900"/>
                  <a:gd name="connsiteX34" fmla="*/ 4400550 w 5753100"/>
                  <a:gd name="connsiteY34" fmla="*/ 3219450 h 4533900"/>
                  <a:gd name="connsiteX35" fmla="*/ 4543425 w 5753100"/>
                  <a:gd name="connsiteY35" fmla="*/ 3143250 h 4533900"/>
                  <a:gd name="connsiteX36" fmla="*/ 4648200 w 5753100"/>
                  <a:gd name="connsiteY36" fmla="*/ 2962275 h 4533900"/>
                  <a:gd name="connsiteX37" fmla="*/ 4714875 w 5753100"/>
                  <a:gd name="connsiteY37" fmla="*/ 2781300 h 4533900"/>
                  <a:gd name="connsiteX38" fmla="*/ 5286375 w 5753100"/>
                  <a:gd name="connsiteY38" fmla="*/ 2771775 h 4533900"/>
                  <a:gd name="connsiteX39" fmla="*/ 5753100 w 5753100"/>
                  <a:gd name="connsiteY39" fmla="*/ 695325 h 4533900"/>
                  <a:gd name="connsiteX40" fmla="*/ 5162550 w 5753100"/>
                  <a:gd name="connsiteY40" fmla="*/ 1057275 h 4533900"/>
                  <a:gd name="connsiteX41" fmla="*/ 4972050 w 5753100"/>
                  <a:gd name="connsiteY41" fmla="*/ 695325 h 4533900"/>
                  <a:gd name="connsiteX42" fmla="*/ 3990975 w 5753100"/>
                  <a:gd name="connsiteY42" fmla="*/ 0 h 4533900"/>
                  <a:gd name="connsiteX43" fmla="*/ 2733675 w 5753100"/>
                  <a:gd name="connsiteY43" fmla="*/ 285750 h 4533900"/>
                  <a:gd name="connsiteX44" fmla="*/ 1962150 w 5753100"/>
                  <a:gd name="connsiteY44" fmla="*/ 942975 h 4533900"/>
                  <a:gd name="connsiteX45" fmla="*/ 971550 w 5753100"/>
                  <a:gd name="connsiteY45" fmla="*/ 1247775 h 4533900"/>
                  <a:gd name="connsiteX46" fmla="*/ 523875 w 5753100"/>
                  <a:gd name="connsiteY46" fmla="*/ 1885950 h 4533900"/>
                  <a:gd name="connsiteX47" fmla="*/ 285750 w 5753100"/>
                  <a:gd name="connsiteY47" fmla="*/ 1962150 h 4533900"/>
                  <a:gd name="connsiteX48" fmla="*/ 180975 w 5753100"/>
                  <a:gd name="connsiteY48" fmla="*/ 1962150 h 4533900"/>
                  <a:gd name="connsiteX49" fmla="*/ 190500 w 5753100"/>
                  <a:gd name="connsiteY49" fmla="*/ 1809750 h 4533900"/>
                  <a:gd name="connsiteX50" fmla="*/ 323850 w 5753100"/>
                  <a:gd name="connsiteY50" fmla="*/ 1590675 h 4533900"/>
                  <a:gd name="connsiteX51" fmla="*/ 276225 w 5753100"/>
                  <a:gd name="connsiteY51" fmla="*/ 1428750 h 4533900"/>
                  <a:gd name="connsiteX0" fmla="*/ 276225 w 5850537"/>
                  <a:gd name="connsiteY0" fmla="*/ 1428750 h 4533900"/>
                  <a:gd name="connsiteX1" fmla="*/ 19050 w 5850537"/>
                  <a:gd name="connsiteY1" fmla="*/ 1581150 h 4533900"/>
                  <a:gd name="connsiteX2" fmla="*/ 0 w 5850537"/>
                  <a:gd name="connsiteY2" fmla="*/ 1762125 h 4533900"/>
                  <a:gd name="connsiteX3" fmla="*/ 85725 w 5850537"/>
                  <a:gd name="connsiteY3" fmla="*/ 2038350 h 4533900"/>
                  <a:gd name="connsiteX4" fmla="*/ 428625 w 5850537"/>
                  <a:gd name="connsiteY4" fmla="*/ 2133600 h 4533900"/>
                  <a:gd name="connsiteX5" fmla="*/ 390525 w 5850537"/>
                  <a:gd name="connsiteY5" fmla="*/ 3038475 h 4533900"/>
                  <a:gd name="connsiteX6" fmla="*/ 95250 w 5850537"/>
                  <a:gd name="connsiteY6" fmla="*/ 3324225 h 4533900"/>
                  <a:gd name="connsiteX7" fmla="*/ 161925 w 5850537"/>
                  <a:gd name="connsiteY7" fmla="*/ 3629025 h 4533900"/>
                  <a:gd name="connsiteX8" fmla="*/ 457200 w 5850537"/>
                  <a:gd name="connsiteY8" fmla="*/ 3876675 h 4533900"/>
                  <a:gd name="connsiteX9" fmla="*/ 752475 w 5850537"/>
                  <a:gd name="connsiteY9" fmla="*/ 3933825 h 4533900"/>
                  <a:gd name="connsiteX10" fmla="*/ 733425 w 5850537"/>
                  <a:gd name="connsiteY10" fmla="*/ 4219575 h 4533900"/>
                  <a:gd name="connsiteX11" fmla="*/ 733425 w 5850537"/>
                  <a:gd name="connsiteY11" fmla="*/ 4305300 h 4533900"/>
                  <a:gd name="connsiteX12" fmla="*/ 1295400 w 5850537"/>
                  <a:gd name="connsiteY12" fmla="*/ 4438650 h 4533900"/>
                  <a:gd name="connsiteX13" fmla="*/ 1524000 w 5850537"/>
                  <a:gd name="connsiteY13" fmla="*/ 4419600 h 4533900"/>
                  <a:gd name="connsiteX14" fmla="*/ 1571625 w 5850537"/>
                  <a:gd name="connsiteY14" fmla="*/ 4210050 h 4533900"/>
                  <a:gd name="connsiteX15" fmla="*/ 1666875 w 5850537"/>
                  <a:gd name="connsiteY15" fmla="*/ 3943350 h 4533900"/>
                  <a:gd name="connsiteX16" fmla="*/ 1733550 w 5850537"/>
                  <a:gd name="connsiteY16" fmla="*/ 3695700 h 4533900"/>
                  <a:gd name="connsiteX17" fmla="*/ 2381250 w 5850537"/>
                  <a:gd name="connsiteY17" fmla="*/ 3695700 h 4533900"/>
                  <a:gd name="connsiteX18" fmla="*/ 2124075 w 5850537"/>
                  <a:gd name="connsiteY18" fmla="*/ 3848100 h 4533900"/>
                  <a:gd name="connsiteX19" fmla="*/ 2114550 w 5850537"/>
                  <a:gd name="connsiteY19" fmla="*/ 4019550 h 4533900"/>
                  <a:gd name="connsiteX20" fmla="*/ 2400300 w 5850537"/>
                  <a:gd name="connsiteY20" fmla="*/ 4505325 h 4533900"/>
                  <a:gd name="connsiteX21" fmla="*/ 2647950 w 5850537"/>
                  <a:gd name="connsiteY21" fmla="*/ 4533900 h 4533900"/>
                  <a:gd name="connsiteX22" fmla="*/ 2876550 w 5850537"/>
                  <a:gd name="connsiteY22" fmla="*/ 4371975 h 4533900"/>
                  <a:gd name="connsiteX23" fmla="*/ 3200400 w 5850537"/>
                  <a:gd name="connsiteY23" fmla="*/ 4095750 h 4533900"/>
                  <a:gd name="connsiteX24" fmla="*/ 3324225 w 5850537"/>
                  <a:gd name="connsiteY24" fmla="*/ 4124325 h 4533900"/>
                  <a:gd name="connsiteX25" fmla="*/ 3457575 w 5850537"/>
                  <a:gd name="connsiteY25" fmla="*/ 4143375 h 4533900"/>
                  <a:gd name="connsiteX26" fmla="*/ 3800475 w 5850537"/>
                  <a:gd name="connsiteY26" fmla="*/ 4152900 h 4533900"/>
                  <a:gd name="connsiteX27" fmla="*/ 3914775 w 5850537"/>
                  <a:gd name="connsiteY27" fmla="*/ 4048125 h 4533900"/>
                  <a:gd name="connsiteX28" fmla="*/ 3876675 w 5850537"/>
                  <a:gd name="connsiteY28" fmla="*/ 3467100 h 4533900"/>
                  <a:gd name="connsiteX29" fmla="*/ 3733800 w 5850537"/>
                  <a:gd name="connsiteY29" fmla="*/ 3095625 h 4533900"/>
                  <a:gd name="connsiteX30" fmla="*/ 3686175 w 5850537"/>
                  <a:gd name="connsiteY30" fmla="*/ 2895600 h 4533900"/>
                  <a:gd name="connsiteX31" fmla="*/ 3867150 w 5850537"/>
                  <a:gd name="connsiteY31" fmla="*/ 2952750 h 4533900"/>
                  <a:gd name="connsiteX32" fmla="*/ 4057650 w 5850537"/>
                  <a:gd name="connsiteY32" fmla="*/ 3133725 h 4533900"/>
                  <a:gd name="connsiteX33" fmla="*/ 4181475 w 5850537"/>
                  <a:gd name="connsiteY33" fmla="*/ 3219450 h 4533900"/>
                  <a:gd name="connsiteX34" fmla="*/ 4400550 w 5850537"/>
                  <a:gd name="connsiteY34" fmla="*/ 3219450 h 4533900"/>
                  <a:gd name="connsiteX35" fmla="*/ 4543425 w 5850537"/>
                  <a:gd name="connsiteY35" fmla="*/ 3143250 h 4533900"/>
                  <a:gd name="connsiteX36" fmla="*/ 4648200 w 5850537"/>
                  <a:gd name="connsiteY36" fmla="*/ 2962275 h 4533900"/>
                  <a:gd name="connsiteX37" fmla="*/ 4714875 w 5850537"/>
                  <a:gd name="connsiteY37" fmla="*/ 2781300 h 4533900"/>
                  <a:gd name="connsiteX38" fmla="*/ 5286375 w 5850537"/>
                  <a:gd name="connsiteY38" fmla="*/ 2771775 h 4533900"/>
                  <a:gd name="connsiteX39" fmla="*/ 5753100 w 5850537"/>
                  <a:gd name="connsiteY39" fmla="*/ 695325 h 4533900"/>
                  <a:gd name="connsiteX40" fmla="*/ 5162550 w 5850537"/>
                  <a:gd name="connsiteY40" fmla="*/ 1057275 h 4533900"/>
                  <a:gd name="connsiteX41" fmla="*/ 4972050 w 5850537"/>
                  <a:gd name="connsiteY41" fmla="*/ 695325 h 4533900"/>
                  <a:gd name="connsiteX42" fmla="*/ 3990975 w 5850537"/>
                  <a:gd name="connsiteY42" fmla="*/ 0 h 4533900"/>
                  <a:gd name="connsiteX43" fmla="*/ 2733675 w 5850537"/>
                  <a:gd name="connsiteY43" fmla="*/ 285750 h 4533900"/>
                  <a:gd name="connsiteX44" fmla="*/ 1962150 w 5850537"/>
                  <a:gd name="connsiteY44" fmla="*/ 942975 h 4533900"/>
                  <a:gd name="connsiteX45" fmla="*/ 971550 w 5850537"/>
                  <a:gd name="connsiteY45" fmla="*/ 1247775 h 4533900"/>
                  <a:gd name="connsiteX46" fmla="*/ 523875 w 5850537"/>
                  <a:gd name="connsiteY46" fmla="*/ 1885950 h 4533900"/>
                  <a:gd name="connsiteX47" fmla="*/ 285750 w 5850537"/>
                  <a:gd name="connsiteY47" fmla="*/ 1962150 h 4533900"/>
                  <a:gd name="connsiteX48" fmla="*/ 180975 w 5850537"/>
                  <a:gd name="connsiteY48" fmla="*/ 1962150 h 4533900"/>
                  <a:gd name="connsiteX49" fmla="*/ 190500 w 5850537"/>
                  <a:gd name="connsiteY49" fmla="*/ 1809750 h 4533900"/>
                  <a:gd name="connsiteX50" fmla="*/ 323850 w 5850537"/>
                  <a:gd name="connsiteY50" fmla="*/ 1590675 h 4533900"/>
                  <a:gd name="connsiteX51" fmla="*/ 276225 w 5850537"/>
                  <a:gd name="connsiteY51" fmla="*/ 1428750 h 4533900"/>
                  <a:gd name="connsiteX0" fmla="*/ 276225 w 5992852"/>
                  <a:gd name="connsiteY0" fmla="*/ 1428750 h 4533900"/>
                  <a:gd name="connsiteX1" fmla="*/ 19050 w 5992852"/>
                  <a:gd name="connsiteY1" fmla="*/ 1581150 h 4533900"/>
                  <a:gd name="connsiteX2" fmla="*/ 0 w 5992852"/>
                  <a:gd name="connsiteY2" fmla="*/ 1762125 h 4533900"/>
                  <a:gd name="connsiteX3" fmla="*/ 85725 w 5992852"/>
                  <a:gd name="connsiteY3" fmla="*/ 2038350 h 4533900"/>
                  <a:gd name="connsiteX4" fmla="*/ 428625 w 5992852"/>
                  <a:gd name="connsiteY4" fmla="*/ 2133600 h 4533900"/>
                  <a:gd name="connsiteX5" fmla="*/ 390525 w 5992852"/>
                  <a:gd name="connsiteY5" fmla="*/ 3038475 h 4533900"/>
                  <a:gd name="connsiteX6" fmla="*/ 95250 w 5992852"/>
                  <a:gd name="connsiteY6" fmla="*/ 3324225 h 4533900"/>
                  <a:gd name="connsiteX7" fmla="*/ 161925 w 5992852"/>
                  <a:gd name="connsiteY7" fmla="*/ 3629025 h 4533900"/>
                  <a:gd name="connsiteX8" fmla="*/ 457200 w 5992852"/>
                  <a:gd name="connsiteY8" fmla="*/ 3876675 h 4533900"/>
                  <a:gd name="connsiteX9" fmla="*/ 752475 w 5992852"/>
                  <a:gd name="connsiteY9" fmla="*/ 3933825 h 4533900"/>
                  <a:gd name="connsiteX10" fmla="*/ 733425 w 5992852"/>
                  <a:gd name="connsiteY10" fmla="*/ 4219575 h 4533900"/>
                  <a:gd name="connsiteX11" fmla="*/ 733425 w 5992852"/>
                  <a:gd name="connsiteY11" fmla="*/ 4305300 h 4533900"/>
                  <a:gd name="connsiteX12" fmla="*/ 1295400 w 5992852"/>
                  <a:gd name="connsiteY12" fmla="*/ 4438650 h 4533900"/>
                  <a:gd name="connsiteX13" fmla="*/ 1524000 w 5992852"/>
                  <a:gd name="connsiteY13" fmla="*/ 4419600 h 4533900"/>
                  <a:gd name="connsiteX14" fmla="*/ 1571625 w 5992852"/>
                  <a:gd name="connsiteY14" fmla="*/ 4210050 h 4533900"/>
                  <a:gd name="connsiteX15" fmla="*/ 1666875 w 5992852"/>
                  <a:gd name="connsiteY15" fmla="*/ 3943350 h 4533900"/>
                  <a:gd name="connsiteX16" fmla="*/ 1733550 w 5992852"/>
                  <a:gd name="connsiteY16" fmla="*/ 3695700 h 4533900"/>
                  <a:gd name="connsiteX17" fmla="*/ 2381250 w 5992852"/>
                  <a:gd name="connsiteY17" fmla="*/ 3695700 h 4533900"/>
                  <a:gd name="connsiteX18" fmla="*/ 2124075 w 5992852"/>
                  <a:gd name="connsiteY18" fmla="*/ 3848100 h 4533900"/>
                  <a:gd name="connsiteX19" fmla="*/ 2114550 w 5992852"/>
                  <a:gd name="connsiteY19" fmla="*/ 4019550 h 4533900"/>
                  <a:gd name="connsiteX20" fmla="*/ 2400300 w 5992852"/>
                  <a:gd name="connsiteY20" fmla="*/ 4505325 h 4533900"/>
                  <a:gd name="connsiteX21" fmla="*/ 2647950 w 5992852"/>
                  <a:gd name="connsiteY21" fmla="*/ 4533900 h 4533900"/>
                  <a:gd name="connsiteX22" fmla="*/ 2876550 w 5992852"/>
                  <a:gd name="connsiteY22" fmla="*/ 4371975 h 4533900"/>
                  <a:gd name="connsiteX23" fmla="*/ 3200400 w 5992852"/>
                  <a:gd name="connsiteY23" fmla="*/ 4095750 h 4533900"/>
                  <a:gd name="connsiteX24" fmla="*/ 3324225 w 5992852"/>
                  <a:gd name="connsiteY24" fmla="*/ 4124325 h 4533900"/>
                  <a:gd name="connsiteX25" fmla="*/ 3457575 w 5992852"/>
                  <a:gd name="connsiteY25" fmla="*/ 4143375 h 4533900"/>
                  <a:gd name="connsiteX26" fmla="*/ 3800475 w 5992852"/>
                  <a:gd name="connsiteY26" fmla="*/ 4152900 h 4533900"/>
                  <a:gd name="connsiteX27" fmla="*/ 3914775 w 5992852"/>
                  <a:gd name="connsiteY27" fmla="*/ 4048125 h 4533900"/>
                  <a:gd name="connsiteX28" fmla="*/ 3876675 w 5992852"/>
                  <a:gd name="connsiteY28" fmla="*/ 3467100 h 4533900"/>
                  <a:gd name="connsiteX29" fmla="*/ 3733800 w 5992852"/>
                  <a:gd name="connsiteY29" fmla="*/ 3095625 h 4533900"/>
                  <a:gd name="connsiteX30" fmla="*/ 3686175 w 5992852"/>
                  <a:gd name="connsiteY30" fmla="*/ 2895600 h 4533900"/>
                  <a:gd name="connsiteX31" fmla="*/ 3867150 w 5992852"/>
                  <a:gd name="connsiteY31" fmla="*/ 2952750 h 4533900"/>
                  <a:gd name="connsiteX32" fmla="*/ 4057650 w 5992852"/>
                  <a:gd name="connsiteY32" fmla="*/ 3133725 h 4533900"/>
                  <a:gd name="connsiteX33" fmla="*/ 4181475 w 5992852"/>
                  <a:gd name="connsiteY33" fmla="*/ 3219450 h 4533900"/>
                  <a:gd name="connsiteX34" fmla="*/ 4400550 w 5992852"/>
                  <a:gd name="connsiteY34" fmla="*/ 3219450 h 4533900"/>
                  <a:gd name="connsiteX35" fmla="*/ 4543425 w 5992852"/>
                  <a:gd name="connsiteY35" fmla="*/ 3143250 h 4533900"/>
                  <a:gd name="connsiteX36" fmla="*/ 4648200 w 5992852"/>
                  <a:gd name="connsiteY36" fmla="*/ 2962275 h 4533900"/>
                  <a:gd name="connsiteX37" fmla="*/ 4714875 w 5992852"/>
                  <a:gd name="connsiteY37" fmla="*/ 2781300 h 4533900"/>
                  <a:gd name="connsiteX38" fmla="*/ 5286375 w 5992852"/>
                  <a:gd name="connsiteY38" fmla="*/ 2771775 h 4533900"/>
                  <a:gd name="connsiteX39" fmla="*/ 5753100 w 5992852"/>
                  <a:gd name="connsiteY39" fmla="*/ 695325 h 4533900"/>
                  <a:gd name="connsiteX40" fmla="*/ 5162550 w 5992852"/>
                  <a:gd name="connsiteY40" fmla="*/ 1057275 h 4533900"/>
                  <a:gd name="connsiteX41" fmla="*/ 4972050 w 5992852"/>
                  <a:gd name="connsiteY41" fmla="*/ 695325 h 4533900"/>
                  <a:gd name="connsiteX42" fmla="*/ 3990975 w 5992852"/>
                  <a:gd name="connsiteY42" fmla="*/ 0 h 4533900"/>
                  <a:gd name="connsiteX43" fmla="*/ 2733675 w 5992852"/>
                  <a:gd name="connsiteY43" fmla="*/ 285750 h 4533900"/>
                  <a:gd name="connsiteX44" fmla="*/ 1962150 w 5992852"/>
                  <a:gd name="connsiteY44" fmla="*/ 942975 h 4533900"/>
                  <a:gd name="connsiteX45" fmla="*/ 971550 w 5992852"/>
                  <a:gd name="connsiteY45" fmla="*/ 1247775 h 4533900"/>
                  <a:gd name="connsiteX46" fmla="*/ 523875 w 5992852"/>
                  <a:gd name="connsiteY46" fmla="*/ 1885950 h 4533900"/>
                  <a:gd name="connsiteX47" fmla="*/ 285750 w 5992852"/>
                  <a:gd name="connsiteY47" fmla="*/ 1962150 h 4533900"/>
                  <a:gd name="connsiteX48" fmla="*/ 180975 w 5992852"/>
                  <a:gd name="connsiteY48" fmla="*/ 1962150 h 4533900"/>
                  <a:gd name="connsiteX49" fmla="*/ 190500 w 5992852"/>
                  <a:gd name="connsiteY49" fmla="*/ 1809750 h 4533900"/>
                  <a:gd name="connsiteX50" fmla="*/ 323850 w 5992852"/>
                  <a:gd name="connsiteY50" fmla="*/ 1590675 h 4533900"/>
                  <a:gd name="connsiteX51" fmla="*/ 276225 w 5992852"/>
                  <a:gd name="connsiteY51" fmla="*/ 1428750 h 4533900"/>
                  <a:gd name="connsiteX0" fmla="*/ 276225 w 5992852"/>
                  <a:gd name="connsiteY0" fmla="*/ 1428750 h 4533900"/>
                  <a:gd name="connsiteX1" fmla="*/ 19050 w 5992852"/>
                  <a:gd name="connsiteY1" fmla="*/ 1581150 h 4533900"/>
                  <a:gd name="connsiteX2" fmla="*/ 0 w 5992852"/>
                  <a:gd name="connsiteY2" fmla="*/ 1762125 h 4533900"/>
                  <a:gd name="connsiteX3" fmla="*/ 85725 w 5992852"/>
                  <a:gd name="connsiteY3" fmla="*/ 2038350 h 4533900"/>
                  <a:gd name="connsiteX4" fmla="*/ 428625 w 5992852"/>
                  <a:gd name="connsiteY4" fmla="*/ 2133600 h 4533900"/>
                  <a:gd name="connsiteX5" fmla="*/ 390525 w 5992852"/>
                  <a:gd name="connsiteY5" fmla="*/ 3038475 h 4533900"/>
                  <a:gd name="connsiteX6" fmla="*/ 95250 w 5992852"/>
                  <a:gd name="connsiteY6" fmla="*/ 3324225 h 4533900"/>
                  <a:gd name="connsiteX7" fmla="*/ 161925 w 5992852"/>
                  <a:gd name="connsiteY7" fmla="*/ 3629025 h 4533900"/>
                  <a:gd name="connsiteX8" fmla="*/ 457200 w 5992852"/>
                  <a:gd name="connsiteY8" fmla="*/ 3876675 h 4533900"/>
                  <a:gd name="connsiteX9" fmla="*/ 752475 w 5992852"/>
                  <a:gd name="connsiteY9" fmla="*/ 3933825 h 4533900"/>
                  <a:gd name="connsiteX10" fmla="*/ 733425 w 5992852"/>
                  <a:gd name="connsiteY10" fmla="*/ 4219575 h 4533900"/>
                  <a:gd name="connsiteX11" fmla="*/ 733425 w 5992852"/>
                  <a:gd name="connsiteY11" fmla="*/ 4305300 h 4533900"/>
                  <a:gd name="connsiteX12" fmla="*/ 1295400 w 5992852"/>
                  <a:gd name="connsiteY12" fmla="*/ 4438650 h 4533900"/>
                  <a:gd name="connsiteX13" fmla="*/ 1524000 w 5992852"/>
                  <a:gd name="connsiteY13" fmla="*/ 4419600 h 4533900"/>
                  <a:gd name="connsiteX14" fmla="*/ 1571625 w 5992852"/>
                  <a:gd name="connsiteY14" fmla="*/ 4210050 h 4533900"/>
                  <a:gd name="connsiteX15" fmla="*/ 1666875 w 5992852"/>
                  <a:gd name="connsiteY15" fmla="*/ 3943350 h 4533900"/>
                  <a:gd name="connsiteX16" fmla="*/ 1733550 w 5992852"/>
                  <a:gd name="connsiteY16" fmla="*/ 3695700 h 4533900"/>
                  <a:gd name="connsiteX17" fmla="*/ 2381250 w 5992852"/>
                  <a:gd name="connsiteY17" fmla="*/ 3695700 h 4533900"/>
                  <a:gd name="connsiteX18" fmla="*/ 2124075 w 5992852"/>
                  <a:gd name="connsiteY18" fmla="*/ 3848100 h 4533900"/>
                  <a:gd name="connsiteX19" fmla="*/ 2114550 w 5992852"/>
                  <a:gd name="connsiteY19" fmla="*/ 4019550 h 4533900"/>
                  <a:gd name="connsiteX20" fmla="*/ 2400300 w 5992852"/>
                  <a:gd name="connsiteY20" fmla="*/ 4505325 h 4533900"/>
                  <a:gd name="connsiteX21" fmla="*/ 2647950 w 5992852"/>
                  <a:gd name="connsiteY21" fmla="*/ 4533900 h 4533900"/>
                  <a:gd name="connsiteX22" fmla="*/ 2876550 w 5992852"/>
                  <a:gd name="connsiteY22" fmla="*/ 4371975 h 4533900"/>
                  <a:gd name="connsiteX23" fmla="*/ 3200400 w 5992852"/>
                  <a:gd name="connsiteY23" fmla="*/ 4095750 h 4533900"/>
                  <a:gd name="connsiteX24" fmla="*/ 3324225 w 5992852"/>
                  <a:gd name="connsiteY24" fmla="*/ 4124325 h 4533900"/>
                  <a:gd name="connsiteX25" fmla="*/ 3457575 w 5992852"/>
                  <a:gd name="connsiteY25" fmla="*/ 4143375 h 4533900"/>
                  <a:gd name="connsiteX26" fmla="*/ 3800475 w 5992852"/>
                  <a:gd name="connsiteY26" fmla="*/ 4152900 h 4533900"/>
                  <a:gd name="connsiteX27" fmla="*/ 3914775 w 5992852"/>
                  <a:gd name="connsiteY27" fmla="*/ 4048125 h 4533900"/>
                  <a:gd name="connsiteX28" fmla="*/ 3876675 w 5992852"/>
                  <a:gd name="connsiteY28" fmla="*/ 3467100 h 4533900"/>
                  <a:gd name="connsiteX29" fmla="*/ 3733800 w 5992852"/>
                  <a:gd name="connsiteY29" fmla="*/ 3095625 h 4533900"/>
                  <a:gd name="connsiteX30" fmla="*/ 3686175 w 5992852"/>
                  <a:gd name="connsiteY30" fmla="*/ 2895600 h 4533900"/>
                  <a:gd name="connsiteX31" fmla="*/ 3867150 w 5992852"/>
                  <a:gd name="connsiteY31" fmla="*/ 2952750 h 4533900"/>
                  <a:gd name="connsiteX32" fmla="*/ 4057650 w 5992852"/>
                  <a:gd name="connsiteY32" fmla="*/ 3133725 h 4533900"/>
                  <a:gd name="connsiteX33" fmla="*/ 4181475 w 5992852"/>
                  <a:gd name="connsiteY33" fmla="*/ 3219450 h 4533900"/>
                  <a:gd name="connsiteX34" fmla="*/ 4400550 w 5992852"/>
                  <a:gd name="connsiteY34" fmla="*/ 3219450 h 4533900"/>
                  <a:gd name="connsiteX35" fmla="*/ 4543425 w 5992852"/>
                  <a:gd name="connsiteY35" fmla="*/ 3143250 h 4533900"/>
                  <a:gd name="connsiteX36" fmla="*/ 4648200 w 5992852"/>
                  <a:gd name="connsiteY36" fmla="*/ 2962275 h 4533900"/>
                  <a:gd name="connsiteX37" fmla="*/ 4714875 w 5992852"/>
                  <a:gd name="connsiteY37" fmla="*/ 2781300 h 4533900"/>
                  <a:gd name="connsiteX38" fmla="*/ 5286375 w 5992852"/>
                  <a:gd name="connsiteY38" fmla="*/ 2771775 h 4533900"/>
                  <a:gd name="connsiteX39" fmla="*/ 5753100 w 5992852"/>
                  <a:gd name="connsiteY39" fmla="*/ 695325 h 4533900"/>
                  <a:gd name="connsiteX40" fmla="*/ 5162550 w 5992852"/>
                  <a:gd name="connsiteY40" fmla="*/ 1057275 h 4533900"/>
                  <a:gd name="connsiteX41" fmla="*/ 4972050 w 5992852"/>
                  <a:gd name="connsiteY41" fmla="*/ 695325 h 4533900"/>
                  <a:gd name="connsiteX42" fmla="*/ 3990975 w 5992852"/>
                  <a:gd name="connsiteY42" fmla="*/ 0 h 4533900"/>
                  <a:gd name="connsiteX43" fmla="*/ 2733675 w 5992852"/>
                  <a:gd name="connsiteY43" fmla="*/ 285750 h 4533900"/>
                  <a:gd name="connsiteX44" fmla="*/ 1962150 w 5992852"/>
                  <a:gd name="connsiteY44" fmla="*/ 942975 h 4533900"/>
                  <a:gd name="connsiteX45" fmla="*/ 971550 w 5992852"/>
                  <a:gd name="connsiteY45" fmla="*/ 1247775 h 4533900"/>
                  <a:gd name="connsiteX46" fmla="*/ 523875 w 5992852"/>
                  <a:gd name="connsiteY46" fmla="*/ 1885950 h 4533900"/>
                  <a:gd name="connsiteX47" fmla="*/ 285750 w 5992852"/>
                  <a:gd name="connsiteY47" fmla="*/ 1962150 h 4533900"/>
                  <a:gd name="connsiteX48" fmla="*/ 180975 w 5992852"/>
                  <a:gd name="connsiteY48" fmla="*/ 1962150 h 4533900"/>
                  <a:gd name="connsiteX49" fmla="*/ 190500 w 5992852"/>
                  <a:gd name="connsiteY49" fmla="*/ 1809750 h 4533900"/>
                  <a:gd name="connsiteX50" fmla="*/ 323850 w 5992852"/>
                  <a:gd name="connsiteY50" fmla="*/ 1590675 h 4533900"/>
                  <a:gd name="connsiteX51" fmla="*/ 276225 w 5992852"/>
                  <a:gd name="connsiteY51" fmla="*/ 1428750 h 4533900"/>
                  <a:gd name="connsiteX0" fmla="*/ 276225 w 5992852"/>
                  <a:gd name="connsiteY0" fmla="*/ 1428750 h 4533900"/>
                  <a:gd name="connsiteX1" fmla="*/ 19050 w 5992852"/>
                  <a:gd name="connsiteY1" fmla="*/ 1581150 h 4533900"/>
                  <a:gd name="connsiteX2" fmla="*/ 0 w 5992852"/>
                  <a:gd name="connsiteY2" fmla="*/ 1762125 h 4533900"/>
                  <a:gd name="connsiteX3" fmla="*/ 85725 w 5992852"/>
                  <a:gd name="connsiteY3" fmla="*/ 2038350 h 4533900"/>
                  <a:gd name="connsiteX4" fmla="*/ 428625 w 5992852"/>
                  <a:gd name="connsiteY4" fmla="*/ 2133600 h 4533900"/>
                  <a:gd name="connsiteX5" fmla="*/ 390525 w 5992852"/>
                  <a:gd name="connsiteY5" fmla="*/ 3038475 h 4533900"/>
                  <a:gd name="connsiteX6" fmla="*/ 95250 w 5992852"/>
                  <a:gd name="connsiteY6" fmla="*/ 3324225 h 4533900"/>
                  <a:gd name="connsiteX7" fmla="*/ 161925 w 5992852"/>
                  <a:gd name="connsiteY7" fmla="*/ 3629025 h 4533900"/>
                  <a:gd name="connsiteX8" fmla="*/ 457200 w 5992852"/>
                  <a:gd name="connsiteY8" fmla="*/ 3876675 h 4533900"/>
                  <a:gd name="connsiteX9" fmla="*/ 752475 w 5992852"/>
                  <a:gd name="connsiteY9" fmla="*/ 3933825 h 4533900"/>
                  <a:gd name="connsiteX10" fmla="*/ 733425 w 5992852"/>
                  <a:gd name="connsiteY10" fmla="*/ 4219575 h 4533900"/>
                  <a:gd name="connsiteX11" fmla="*/ 733425 w 5992852"/>
                  <a:gd name="connsiteY11" fmla="*/ 4305300 h 4533900"/>
                  <a:gd name="connsiteX12" fmla="*/ 1295400 w 5992852"/>
                  <a:gd name="connsiteY12" fmla="*/ 4438650 h 4533900"/>
                  <a:gd name="connsiteX13" fmla="*/ 1524000 w 5992852"/>
                  <a:gd name="connsiteY13" fmla="*/ 4419600 h 4533900"/>
                  <a:gd name="connsiteX14" fmla="*/ 1571625 w 5992852"/>
                  <a:gd name="connsiteY14" fmla="*/ 4210050 h 4533900"/>
                  <a:gd name="connsiteX15" fmla="*/ 1666875 w 5992852"/>
                  <a:gd name="connsiteY15" fmla="*/ 3943350 h 4533900"/>
                  <a:gd name="connsiteX16" fmla="*/ 1733550 w 5992852"/>
                  <a:gd name="connsiteY16" fmla="*/ 3695700 h 4533900"/>
                  <a:gd name="connsiteX17" fmla="*/ 2381250 w 5992852"/>
                  <a:gd name="connsiteY17" fmla="*/ 3695700 h 4533900"/>
                  <a:gd name="connsiteX18" fmla="*/ 2124075 w 5992852"/>
                  <a:gd name="connsiteY18" fmla="*/ 3848100 h 4533900"/>
                  <a:gd name="connsiteX19" fmla="*/ 2114550 w 5992852"/>
                  <a:gd name="connsiteY19" fmla="*/ 4019550 h 4533900"/>
                  <a:gd name="connsiteX20" fmla="*/ 2400300 w 5992852"/>
                  <a:gd name="connsiteY20" fmla="*/ 4505325 h 4533900"/>
                  <a:gd name="connsiteX21" fmla="*/ 2647950 w 5992852"/>
                  <a:gd name="connsiteY21" fmla="*/ 4533900 h 4533900"/>
                  <a:gd name="connsiteX22" fmla="*/ 2876550 w 5992852"/>
                  <a:gd name="connsiteY22" fmla="*/ 4371975 h 4533900"/>
                  <a:gd name="connsiteX23" fmla="*/ 3200400 w 5992852"/>
                  <a:gd name="connsiteY23" fmla="*/ 4095750 h 4533900"/>
                  <a:gd name="connsiteX24" fmla="*/ 3324225 w 5992852"/>
                  <a:gd name="connsiteY24" fmla="*/ 4124325 h 4533900"/>
                  <a:gd name="connsiteX25" fmla="*/ 3457575 w 5992852"/>
                  <a:gd name="connsiteY25" fmla="*/ 4143375 h 4533900"/>
                  <a:gd name="connsiteX26" fmla="*/ 3800475 w 5992852"/>
                  <a:gd name="connsiteY26" fmla="*/ 4152900 h 4533900"/>
                  <a:gd name="connsiteX27" fmla="*/ 3914775 w 5992852"/>
                  <a:gd name="connsiteY27" fmla="*/ 4048125 h 4533900"/>
                  <a:gd name="connsiteX28" fmla="*/ 3876675 w 5992852"/>
                  <a:gd name="connsiteY28" fmla="*/ 3467100 h 4533900"/>
                  <a:gd name="connsiteX29" fmla="*/ 3733800 w 5992852"/>
                  <a:gd name="connsiteY29" fmla="*/ 3095625 h 4533900"/>
                  <a:gd name="connsiteX30" fmla="*/ 3686175 w 5992852"/>
                  <a:gd name="connsiteY30" fmla="*/ 2895600 h 4533900"/>
                  <a:gd name="connsiteX31" fmla="*/ 3867150 w 5992852"/>
                  <a:gd name="connsiteY31" fmla="*/ 2952750 h 4533900"/>
                  <a:gd name="connsiteX32" fmla="*/ 4057650 w 5992852"/>
                  <a:gd name="connsiteY32" fmla="*/ 3133725 h 4533900"/>
                  <a:gd name="connsiteX33" fmla="*/ 4181475 w 5992852"/>
                  <a:gd name="connsiteY33" fmla="*/ 3219450 h 4533900"/>
                  <a:gd name="connsiteX34" fmla="*/ 4400550 w 5992852"/>
                  <a:gd name="connsiteY34" fmla="*/ 3219450 h 4533900"/>
                  <a:gd name="connsiteX35" fmla="*/ 4543425 w 5992852"/>
                  <a:gd name="connsiteY35" fmla="*/ 3143250 h 4533900"/>
                  <a:gd name="connsiteX36" fmla="*/ 4648200 w 5992852"/>
                  <a:gd name="connsiteY36" fmla="*/ 2962275 h 4533900"/>
                  <a:gd name="connsiteX37" fmla="*/ 4714875 w 5992852"/>
                  <a:gd name="connsiteY37" fmla="*/ 2781300 h 4533900"/>
                  <a:gd name="connsiteX38" fmla="*/ 5286375 w 5992852"/>
                  <a:gd name="connsiteY38" fmla="*/ 2771775 h 4533900"/>
                  <a:gd name="connsiteX39" fmla="*/ 5753100 w 5992852"/>
                  <a:gd name="connsiteY39" fmla="*/ 695325 h 4533900"/>
                  <a:gd name="connsiteX40" fmla="*/ 5162550 w 5992852"/>
                  <a:gd name="connsiteY40" fmla="*/ 1057275 h 4533900"/>
                  <a:gd name="connsiteX41" fmla="*/ 4972050 w 5992852"/>
                  <a:gd name="connsiteY41" fmla="*/ 695325 h 4533900"/>
                  <a:gd name="connsiteX42" fmla="*/ 3990975 w 5992852"/>
                  <a:gd name="connsiteY42" fmla="*/ 0 h 4533900"/>
                  <a:gd name="connsiteX43" fmla="*/ 2733675 w 5992852"/>
                  <a:gd name="connsiteY43" fmla="*/ 285750 h 4533900"/>
                  <a:gd name="connsiteX44" fmla="*/ 1962150 w 5992852"/>
                  <a:gd name="connsiteY44" fmla="*/ 942975 h 4533900"/>
                  <a:gd name="connsiteX45" fmla="*/ 971550 w 5992852"/>
                  <a:gd name="connsiteY45" fmla="*/ 1247775 h 4533900"/>
                  <a:gd name="connsiteX46" fmla="*/ 523875 w 5992852"/>
                  <a:gd name="connsiteY46" fmla="*/ 1885950 h 4533900"/>
                  <a:gd name="connsiteX47" fmla="*/ 285750 w 5992852"/>
                  <a:gd name="connsiteY47" fmla="*/ 1962150 h 4533900"/>
                  <a:gd name="connsiteX48" fmla="*/ 180975 w 5992852"/>
                  <a:gd name="connsiteY48" fmla="*/ 1962150 h 4533900"/>
                  <a:gd name="connsiteX49" fmla="*/ 190500 w 5992852"/>
                  <a:gd name="connsiteY49" fmla="*/ 1809750 h 4533900"/>
                  <a:gd name="connsiteX50" fmla="*/ 323850 w 5992852"/>
                  <a:gd name="connsiteY50" fmla="*/ 1590675 h 4533900"/>
                  <a:gd name="connsiteX51" fmla="*/ 276225 w 5992852"/>
                  <a:gd name="connsiteY51" fmla="*/ 1428750 h 4533900"/>
                  <a:gd name="connsiteX0" fmla="*/ 276225 w 5992852"/>
                  <a:gd name="connsiteY0" fmla="*/ 1476384 h 4581534"/>
                  <a:gd name="connsiteX1" fmla="*/ 19050 w 5992852"/>
                  <a:gd name="connsiteY1" fmla="*/ 1628784 h 4581534"/>
                  <a:gd name="connsiteX2" fmla="*/ 0 w 5992852"/>
                  <a:gd name="connsiteY2" fmla="*/ 1809759 h 4581534"/>
                  <a:gd name="connsiteX3" fmla="*/ 85725 w 5992852"/>
                  <a:gd name="connsiteY3" fmla="*/ 2085984 h 4581534"/>
                  <a:gd name="connsiteX4" fmla="*/ 428625 w 5992852"/>
                  <a:gd name="connsiteY4" fmla="*/ 2181234 h 4581534"/>
                  <a:gd name="connsiteX5" fmla="*/ 390525 w 5992852"/>
                  <a:gd name="connsiteY5" fmla="*/ 3086109 h 4581534"/>
                  <a:gd name="connsiteX6" fmla="*/ 95250 w 5992852"/>
                  <a:gd name="connsiteY6" fmla="*/ 3371859 h 4581534"/>
                  <a:gd name="connsiteX7" fmla="*/ 161925 w 5992852"/>
                  <a:gd name="connsiteY7" fmla="*/ 3676659 h 4581534"/>
                  <a:gd name="connsiteX8" fmla="*/ 457200 w 5992852"/>
                  <a:gd name="connsiteY8" fmla="*/ 3924309 h 4581534"/>
                  <a:gd name="connsiteX9" fmla="*/ 752475 w 5992852"/>
                  <a:gd name="connsiteY9" fmla="*/ 3981459 h 4581534"/>
                  <a:gd name="connsiteX10" fmla="*/ 733425 w 5992852"/>
                  <a:gd name="connsiteY10" fmla="*/ 4267209 h 4581534"/>
                  <a:gd name="connsiteX11" fmla="*/ 733425 w 5992852"/>
                  <a:gd name="connsiteY11" fmla="*/ 4352934 h 4581534"/>
                  <a:gd name="connsiteX12" fmla="*/ 1295400 w 5992852"/>
                  <a:gd name="connsiteY12" fmla="*/ 4486284 h 4581534"/>
                  <a:gd name="connsiteX13" fmla="*/ 1524000 w 5992852"/>
                  <a:gd name="connsiteY13" fmla="*/ 4467234 h 4581534"/>
                  <a:gd name="connsiteX14" fmla="*/ 1571625 w 5992852"/>
                  <a:gd name="connsiteY14" fmla="*/ 4257684 h 4581534"/>
                  <a:gd name="connsiteX15" fmla="*/ 1666875 w 5992852"/>
                  <a:gd name="connsiteY15" fmla="*/ 3990984 h 4581534"/>
                  <a:gd name="connsiteX16" fmla="*/ 1733550 w 5992852"/>
                  <a:gd name="connsiteY16" fmla="*/ 3743334 h 4581534"/>
                  <a:gd name="connsiteX17" fmla="*/ 2381250 w 5992852"/>
                  <a:gd name="connsiteY17" fmla="*/ 3743334 h 4581534"/>
                  <a:gd name="connsiteX18" fmla="*/ 2124075 w 5992852"/>
                  <a:gd name="connsiteY18" fmla="*/ 3895734 h 4581534"/>
                  <a:gd name="connsiteX19" fmla="*/ 2114550 w 5992852"/>
                  <a:gd name="connsiteY19" fmla="*/ 4067184 h 4581534"/>
                  <a:gd name="connsiteX20" fmla="*/ 2400300 w 5992852"/>
                  <a:gd name="connsiteY20" fmla="*/ 4552959 h 4581534"/>
                  <a:gd name="connsiteX21" fmla="*/ 2647950 w 5992852"/>
                  <a:gd name="connsiteY21" fmla="*/ 4581534 h 4581534"/>
                  <a:gd name="connsiteX22" fmla="*/ 2876550 w 5992852"/>
                  <a:gd name="connsiteY22" fmla="*/ 4419609 h 4581534"/>
                  <a:gd name="connsiteX23" fmla="*/ 3200400 w 5992852"/>
                  <a:gd name="connsiteY23" fmla="*/ 4143384 h 4581534"/>
                  <a:gd name="connsiteX24" fmla="*/ 3324225 w 5992852"/>
                  <a:gd name="connsiteY24" fmla="*/ 4171959 h 4581534"/>
                  <a:gd name="connsiteX25" fmla="*/ 3457575 w 5992852"/>
                  <a:gd name="connsiteY25" fmla="*/ 4191009 h 4581534"/>
                  <a:gd name="connsiteX26" fmla="*/ 3800475 w 5992852"/>
                  <a:gd name="connsiteY26" fmla="*/ 4200534 h 4581534"/>
                  <a:gd name="connsiteX27" fmla="*/ 3914775 w 5992852"/>
                  <a:gd name="connsiteY27" fmla="*/ 4095759 h 4581534"/>
                  <a:gd name="connsiteX28" fmla="*/ 3876675 w 5992852"/>
                  <a:gd name="connsiteY28" fmla="*/ 3514734 h 4581534"/>
                  <a:gd name="connsiteX29" fmla="*/ 3733800 w 5992852"/>
                  <a:gd name="connsiteY29" fmla="*/ 3143259 h 4581534"/>
                  <a:gd name="connsiteX30" fmla="*/ 3686175 w 5992852"/>
                  <a:gd name="connsiteY30" fmla="*/ 2943234 h 4581534"/>
                  <a:gd name="connsiteX31" fmla="*/ 3867150 w 5992852"/>
                  <a:gd name="connsiteY31" fmla="*/ 3000384 h 4581534"/>
                  <a:gd name="connsiteX32" fmla="*/ 4057650 w 5992852"/>
                  <a:gd name="connsiteY32" fmla="*/ 3181359 h 4581534"/>
                  <a:gd name="connsiteX33" fmla="*/ 4181475 w 5992852"/>
                  <a:gd name="connsiteY33" fmla="*/ 3267084 h 4581534"/>
                  <a:gd name="connsiteX34" fmla="*/ 4400550 w 5992852"/>
                  <a:gd name="connsiteY34" fmla="*/ 3267084 h 4581534"/>
                  <a:gd name="connsiteX35" fmla="*/ 4543425 w 5992852"/>
                  <a:gd name="connsiteY35" fmla="*/ 3190884 h 4581534"/>
                  <a:gd name="connsiteX36" fmla="*/ 4648200 w 5992852"/>
                  <a:gd name="connsiteY36" fmla="*/ 3009909 h 4581534"/>
                  <a:gd name="connsiteX37" fmla="*/ 4714875 w 5992852"/>
                  <a:gd name="connsiteY37" fmla="*/ 2828934 h 4581534"/>
                  <a:gd name="connsiteX38" fmla="*/ 5286375 w 5992852"/>
                  <a:gd name="connsiteY38" fmla="*/ 2819409 h 4581534"/>
                  <a:gd name="connsiteX39" fmla="*/ 5753100 w 5992852"/>
                  <a:gd name="connsiteY39" fmla="*/ 742959 h 4581534"/>
                  <a:gd name="connsiteX40" fmla="*/ 5162550 w 5992852"/>
                  <a:gd name="connsiteY40" fmla="*/ 1104909 h 4581534"/>
                  <a:gd name="connsiteX41" fmla="*/ 4972050 w 5992852"/>
                  <a:gd name="connsiteY41" fmla="*/ 742959 h 4581534"/>
                  <a:gd name="connsiteX42" fmla="*/ 3990975 w 5992852"/>
                  <a:gd name="connsiteY42" fmla="*/ 47634 h 4581534"/>
                  <a:gd name="connsiteX43" fmla="*/ 2733675 w 5992852"/>
                  <a:gd name="connsiteY43" fmla="*/ 333384 h 4581534"/>
                  <a:gd name="connsiteX44" fmla="*/ 1962150 w 5992852"/>
                  <a:gd name="connsiteY44" fmla="*/ 990609 h 4581534"/>
                  <a:gd name="connsiteX45" fmla="*/ 971550 w 5992852"/>
                  <a:gd name="connsiteY45" fmla="*/ 1295409 h 4581534"/>
                  <a:gd name="connsiteX46" fmla="*/ 523875 w 5992852"/>
                  <a:gd name="connsiteY46" fmla="*/ 1933584 h 4581534"/>
                  <a:gd name="connsiteX47" fmla="*/ 285750 w 5992852"/>
                  <a:gd name="connsiteY47" fmla="*/ 2009784 h 4581534"/>
                  <a:gd name="connsiteX48" fmla="*/ 180975 w 5992852"/>
                  <a:gd name="connsiteY48" fmla="*/ 2009784 h 4581534"/>
                  <a:gd name="connsiteX49" fmla="*/ 190500 w 5992852"/>
                  <a:gd name="connsiteY49" fmla="*/ 1857384 h 4581534"/>
                  <a:gd name="connsiteX50" fmla="*/ 323850 w 5992852"/>
                  <a:gd name="connsiteY50" fmla="*/ 1638309 h 4581534"/>
                  <a:gd name="connsiteX51" fmla="*/ 276225 w 5992852"/>
                  <a:gd name="connsiteY51" fmla="*/ 1476384 h 4581534"/>
                  <a:gd name="connsiteX0" fmla="*/ 276225 w 5992852"/>
                  <a:gd name="connsiteY0" fmla="*/ 1476384 h 4581534"/>
                  <a:gd name="connsiteX1" fmla="*/ 19050 w 5992852"/>
                  <a:gd name="connsiteY1" fmla="*/ 1628784 h 4581534"/>
                  <a:gd name="connsiteX2" fmla="*/ 0 w 5992852"/>
                  <a:gd name="connsiteY2" fmla="*/ 1809759 h 4581534"/>
                  <a:gd name="connsiteX3" fmla="*/ 85725 w 5992852"/>
                  <a:gd name="connsiteY3" fmla="*/ 2085984 h 4581534"/>
                  <a:gd name="connsiteX4" fmla="*/ 428625 w 5992852"/>
                  <a:gd name="connsiteY4" fmla="*/ 2181234 h 4581534"/>
                  <a:gd name="connsiteX5" fmla="*/ 390525 w 5992852"/>
                  <a:gd name="connsiteY5" fmla="*/ 3086109 h 4581534"/>
                  <a:gd name="connsiteX6" fmla="*/ 95250 w 5992852"/>
                  <a:gd name="connsiteY6" fmla="*/ 3371859 h 4581534"/>
                  <a:gd name="connsiteX7" fmla="*/ 161925 w 5992852"/>
                  <a:gd name="connsiteY7" fmla="*/ 3676659 h 4581534"/>
                  <a:gd name="connsiteX8" fmla="*/ 457200 w 5992852"/>
                  <a:gd name="connsiteY8" fmla="*/ 3924309 h 4581534"/>
                  <a:gd name="connsiteX9" fmla="*/ 752475 w 5992852"/>
                  <a:gd name="connsiteY9" fmla="*/ 3981459 h 4581534"/>
                  <a:gd name="connsiteX10" fmla="*/ 733425 w 5992852"/>
                  <a:gd name="connsiteY10" fmla="*/ 4267209 h 4581534"/>
                  <a:gd name="connsiteX11" fmla="*/ 733425 w 5992852"/>
                  <a:gd name="connsiteY11" fmla="*/ 4352934 h 4581534"/>
                  <a:gd name="connsiteX12" fmla="*/ 1295400 w 5992852"/>
                  <a:gd name="connsiteY12" fmla="*/ 4486284 h 4581534"/>
                  <a:gd name="connsiteX13" fmla="*/ 1524000 w 5992852"/>
                  <a:gd name="connsiteY13" fmla="*/ 4467234 h 4581534"/>
                  <a:gd name="connsiteX14" fmla="*/ 1571625 w 5992852"/>
                  <a:gd name="connsiteY14" fmla="*/ 4257684 h 4581534"/>
                  <a:gd name="connsiteX15" fmla="*/ 1666875 w 5992852"/>
                  <a:gd name="connsiteY15" fmla="*/ 3990984 h 4581534"/>
                  <a:gd name="connsiteX16" fmla="*/ 1733550 w 5992852"/>
                  <a:gd name="connsiteY16" fmla="*/ 3743334 h 4581534"/>
                  <a:gd name="connsiteX17" fmla="*/ 2381250 w 5992852"/>
                  <a:gd name="connsiteY17" fmla="*/ 3743334 h 4581534"/>
                  <a:gd name="connsiteX18" fmla="*/ 2124075 w 5992852"/>
                  <a:gd name="connsiteY18" fmla="*/ 3895734 h 4581534"/>
                  <a:gd name="connsiteX19" fmla="*/ 2114550 w 5992852"/>
                  <a:gd name="connsiteY19" fmla="*/ 4067184 h 4581534"/>
                  <a:gd name="connsiteX20" fmla="*/ 2400300 w 5992852"/>
                  <a:gd name="connsiteY20" fmla="*/ 4552959 h 4581534"/>
                  <a:gd name="connsiteX21" fmla="*/ 2647950 w 5992852"/>
                  <a:gd name="connsiteY21" fmla="*/ 4581534 h 4581534"/>
                  <a:gd name="connsiteX22" fmla="*/ 2876550 w 5992852"/>
                  <a:gd name="connsiteY22" fmla="*/ 4419609 h 4581534"/>
                  <a:gd name="connsiteX23" fmla="*/ 3200400 w 5992852"/>
                  <a:gd name="connsiteY23" fmla="*/ 4143384 h 4581534"/>
                  <a:gd name="connsiteX24" fmla="*/ 3324225 w 5992852"/>
                  <a:gd name="connsiteY24" fmla="*/ 4171959 h 4581534"/>
                  <a:gd name="connsiteX25" fmla="*/ 3457575 w 5992852"/>
                  <a:gd name="connsiteY25" fmla="*/ 4191009 h 4581534"/>
                  <a:gd name="connsiteX26" fmla="*/ 3800475 w 5992852"/>
                  <a:gd name="connsiteY26" fmla="*/ 4200534 h 4581534"/>
                  <a:gd name="connsiteX27" fmla="*/ 3914775 w 5992852"/>
                  <a:gd name="connsiteY27" fmla="*/ 4095759 h 4581534"/>
                  <a:gd name="connsiteX28" fmla="*/ 3876675 w 5992852"/>
                  <a:gd name="connsiteY28" fmla="*/ 3514734 h 4581534"/>
                  <a:gd name="connsiteX29" fmla="*/ 3733800 w 5992852"/>
                  <a:gd name="connsiteY29" fmla="*/ 3143259 h 4581534"/>
                  <a:gd name="connsiteX30" fmla="*/ 3686175 w 5992852"/>
                  <a:gd name="connsiteY30" fmla="*/ 2943234 h 4581534"/>
                  <a:gd name="connsiteX31" fmla="*/ 3867150 w 5992852"/>
                  <a:gd name="connsiteY31" fmla="*/ 3000384 h 4581534"/>
                  <a:gd name="connsiteX32" fmla="*/ 4057650 w 5992852"/>
                  <a:gd name="connsiteY32" fmla="*/ 3181359 h 4581534"/>
                  <a:gd name="connsiteX33" fmla="*/ 4181475 w 5992852"/>
                  <a:gd name="connsiteY33" fmla="*/ 3267084 h 4581534"/>
                  <a:gd name="connsiteX34" fmla="*/ 4400550 w 5992852"/>
                  <a:gd name="connsiteY34" fmla="*/ 3267084 h 4581534"/>
                  <a:gd name="connsiteX35" fmla="*/ 4543425 w 5992852"/>
                  <a:gd name="connsiteY35" fmla="*/ 3190884 h 4581534"/>
                  <a:gd name="connsiteX36" fmla="*/ 4648200 w 5992852"/>
                  <a:gd name="connsiteY36" fmla="*/ 3009909 h 4581534"/>
                  <a:gd name="connsiteX37" fmla="*/ 4714875 w 5992852"/>
                  <a:gd name="connsiteY37" fmla="*/ 2828934 h 4581534"/>
                  <a:gd name="connsiteX38" fmla="*/ 5286375 w 5992852"/>
                  <a:gd name="connsiteY38" fmla="*/ 2819409 h 4581534"/>
                  <a:gd name="connsiteX39" fmla="*/ 5753100 w 5992852"/>
                  <a:gd name="connsiteY39" fmla="*/ 742959 h 4581534"/>
                  <a:gd name="connsiteX40" fmla="*/ 5162550 w 5992852"/>
                  <a:gd name="connsiteY40" fmla="*/ 1104909 h 4581534"/>
                  <a:gd name="connsiteX41" fmla="*/ 4972050 w 5992852"/>
                  <a:gd name="connsiteY41" fmla="*/ 742959 h 4581534"/>
                  <a:gd name="connsiteX42" fmla="*/ 3990975 w 5992852"/>
                  <a:gd name="connsiteY42" fmla="*/ 47634 h 4581534"/>
                  <a:gd name="connsiteX43" fmla="*/ 2733675 w 5992852"/>
                  <a:gd name="connsiteY43" fmla="*/ 333384 h 4581534"/>
                  <a:gd name="connsiteX44" fmla="*/ 1962150 w 5992852"/>
                  <a:gd name="connsiteY44" fmla="*/ 990609 h 4581534"/>
                  <a:gd name="connsiteX45" fmla="*/ 971550 w 5992852"/>
                  <a:gd name="connsiteY45" fmla="*/ 1295409 h 4581534"/>
                  <a:gd name="connsiteX46" fmla="*/ 523875 w 5992852"/>
                  <a:gd name="connsiteY46" fmla="*/ 1933584 h 4581534"/>
                  <a:gd name="connsiteX47" fmla="*/ 285750 w 5992852"/>
                  <a:gd name="connsiteY47" fmla="*/ 2009784 h 4581534"/>
                  <a:gd name="connsiteX48" fmla="*/ 180975 w 5992852"/>
                  <a:gd name="connsiteY48" fmla="*/ 2009784 h 4581534"/>
                  <a:gd name="connsiteX49" fmla="*/ 190500 w 5992852"/>
                  <a:gd name="connsiteY49" fmla="*/ 1857384 h 4581534"/>
                  <a:gd name="connsiteX50" fmla="*/ 323850 w 5992852"/>
                  <a:gd name="connsiteY50" fmla="*/ 1638309 h 4581534"/>
                  <a:gd name="connsiteX51" fmla="*/ 276225 w 5992852"/>
                  <a:gd name="connsiteY51" fmla="*/ 1476384 h 4581534"/>
                  <a:gd name="connsiteX0" fmla="*/ 276225 w 5992852"/>
                  <a:gd name="connsiteY0" fmla="*/ 1476384 h 4581534"/>
                  <a:gd name="connsiteX1" fmla="*/ 19050 w 5992852"/>
                  <a:gd name="connsiteY1" fmla="*/ 1628784 h 4581534"/>
                  <a:gd name="connsiteX2" fmla="*/ 0 w 5992852"/>
                  <a:gd name="connsiteY2" fmla="*/ 1809759 h 4581534"/>
                  <a:gd name="connsiteX3" fmla="*/ 85725 w 5992852"/>
                  <a:gd name="connsiteY3" fmla="*/ 2085984 h 4581534"/>
                  <a:gd name="connsiteX4" fmla="*/ 428625 w 5992852"/>
                  <a:gd name="connsiteY4" fmla="*/ 2181234 h 4581534"/>
                  <a:gd name="connsiteX5" fmla="*/ 390525 w 5992852"/>
                  <a:gd name="connsiteY5" fmla="*/ 3086109 h 4581534"/>
                  <a:gd name="connsiteX6" fmla="*/ 95250 w 5992852"/>
                  <a:gd name="connsiteY6" fmla="*/ 3371859 h 4581534"/>
                  <a:gd name="connsiteX7" fmla="*/ 161925 w 5992852"/>
                  <a:gd name="connsiteY7" fmla="*/ 3676659 h 4581534"/>
                  <a:gd name="connsiteX8" fmla="*/ 457200 w 5992852"/>
                  <a:gd name="connsiteY8" fmla="*/ 3924309 h 4581534"/>
                  <a:gd name="connsiteX9" fmla="*/ 752475 w 5992852"/>
                  <a:gd name="connsiteY9" fmla="*/ 3981459 h 4581534"/>
                  <a:gd name="connsiteX10" fmla="*/ 733425 w 5992852"/>
                  <a:gd name="connsiteY10" fmla="*/ 4267209 h 4581534"/>
                  <a:gd name="connsiteX11" fmla="*/ 733425 w 5992852"/>
                  <a:gd name="connsiteY11" fmla="*/ 4352934 h 4581534"/>
                  <a:gd name="connsiteX12" fmla="*/ 1295400 w 5992852"/>
                  <a:gd name="connsiteY12" fmla="*/ 4486284 h 4581534"/>
                  <a:gd name="connsiteX13" fmla="*/ 1524000 w 5992852"/>
                  <a:gd name="connsiteY13" fmla="*/ 4467234 h 4581534"/>
                  <a:gd name="connsiteX14" fmla="*/ 1571625 w 5992852"/>
                  <a:gd name="connsiteY14" fmla="*/ 4257684 h 4581534"/>
                  <a:gd name="connsiteX15" fmla="*/ 1666875 w 5992852"/>
                  <a:gd name="connsiteY15" fmla="*/ 3990984 h 4581534"/>
                  <a:gd name="connsiteX16" fmla="*/ 1733550 w 5992852"/>
                  <a:gd name="connsiteY16" fmla="*/ 3743334 h 4581534"/>
                  <a:gd name="connsiteX17" fmla="*/ 2381250 w 5992852"/>
                  <a:gd name="connsiteY17" fmla="*/ 3743334 h 4581534"/>
                  <a:gd name="connsiteX18" fmla="*/ 2124075 w 5992852"/>
                  <a:gd name="connsiteY18" fmla="*/ 3895734 h 4581534"/>
                  <a:gd name="connsiteX19" fmla="*/ 2114550 w 5992852"/>
                  <a:gd name="connsiteY19" fmla="*/ 4067184 h 4581534"/>
                  <a:gd name="connsiteX20" fmla="*/ 2400300 w 5992852"/>
                  <a:gd name="connsiteY20" fmla="*/ 4552959 h 4581534"/>
                  <a:gd name="connsiteX21" fmla="*/ 2647950 w 5992852"/>
                  <a:gd name="connsiteY21" fmla="*/ 4581534 h 4581534"/>
                  <a:gd name="connsiteX22" fmla="*/ 2876550 w 5992852"/>
                  <a:gd name="connsiteY22" fmla="*/ 4419609 h 4581534"/>
                  <a:gd name="connsiteX23" fmla="*/ 3200400 w 5992852"/>
                  <a:gd name="connsiteY23" fmla="*/ 4143384 h 4581534"/>
                  <a:gd name="connsiteX24" fmla="*/ 3324225 w 5992852"/>
                  <a:gd name="connsiteY24" fmla="*/ 4171959 h 4581534"/>
                  <a:gd name="connsiteX25" fmla="*/ 3457575 w 5992852"/>
                  <a:gd name="connsiteY25" fmla="*/ 4191009 h 4581534"/>
                  <a:gd name="connsiteX26" fmla="*/ 3800475 w 5992852"/>
                  <a:gd name="connsiteY26" fmla="*/ 4200534 h 4581534"/>
                  <a:gd name="connsiteX27" fmla="*/ 3914775 w 5992852"/>
                  <a:gd name="connsiteY27" fmla="*/ 4095759 h 4581534"/>
                  <a:gd name="connsiteX28" fmla="*/ 3876675 w 5992852"/>
                  <a:gd name="connsiteY28" fmla="*/ 3514734 h 4581534"/>
                  <a:gd name="connsiteX29" fmla="*/ 3733800 w 5992852"/>
                  <a:gd name="connsiteY29" fmla="*/ 3143259 h 4581534"/>
                  <a:gd name="connsiteX30" fmla="*/ 3686175 w 5992852"/>
                  <a:gd name="connsiteY30" fmla="*/ 2943234 h 4581534"/>
                  <a:gd name="connsiteX31" fmla="*/ 3867150 w 5992852"/>
                  <a:gd name="connsiteY31" fmla="*/ 3000384 h 4581534"/>
                  <a:gd name="connsiteX32" fmla="*/ 4057650 w 5992852"/>
                  <a:gd name="connsiteY32" fmla="*/ 3181359 h 4581534"/>
                  <a:gd name="connsiteX33" fmla="*/ 4181475 w 5992852"/>
                  <a:gd name="connsiteY33" fmla="*/ 3267084 h 4581534"/>
                  <a:gd name="connsiteX34" fmla="*/ 4400550 w 5992852"/>
                  <a:gd name="connsiteY34" fmla="*/ 3267084 h 4581534"/>
                  <a:gd name="connsiteX35" fmla="*/ 4543425 w 5992852"/>
                  <a:gd name="connsiteY35" fmla="*/ 3190884 h 4581534"/>
                  <a:gd name="connsiteX36" fmla="*/ 4648200 w 5992852"/>
                  <a:gd name="connsiteY36" fmla="*/ 3009909 h 4581534"/>
                  <a:gd name="connsiteX37" fmla="*/ 4714875 w 5992852"/>
                  <a:gd name="connsiteY37" fmla="*/ 2828934 h 4581534"/>
                  <a:gd name="connsiteX38" fmla="*/ 5286375 w 5992852"/>
                  <a:gd name="connsiteY38" fmla="*/ 2819409 h 4581534"/>
                  <a:gd name="connsiteX39" fmla="*/ 5753100 w 5992852"/>
                  <a:gd name="connsiteY39" fmla="*/ 742959 h 4581534"/>
                  <a:gd name="connsiteX40" fmla="*/ 5162550 w 5992852"/>
                  <a:gd name="connsiteY40" fmla="*/ 1104909 h 4581534"/>
                  <a:gd name="connsiteX41" fmla="*/ 4972050 w 5992852"/>
                  <a:gd name="connsiteY41" fmla="*/ 742959 h 4581534"/>
                  <a:gd name="connsiteX42" fmla="*/ 3990975 w 5992852"/>
                  <a:gd name="connsiteY42" fmla="*/ 47634 h 4581534"/>
                  <a:gd name="connsiteX43" fmla="*/ 2733675 w 5992852"/>
                  <a:gd name="connsiteY43" fmla="*/ 333384 h 4581534"/>
                  <a:gd name="connsiteX44" fmla="*/ 1962150 w 5992852"/>
                  <a:gd name="connsiteY44" fmla="*/ 990609 h 4581534"/>
                  <a:gd name="connsiteX45" fmla="*/ 971550 w 5992852"/>
                  <a:gd name="connsiteY45" fmla="*/ 1295409 h 4581534"/>
                  <a:gd name="connsiteX46" fmla="*/ 523875 w 5992852"/>
                  <a:gd name="connsiteY46" fmla="*/ 1933584 h 4581534"/>
                  <a:gd name="connsiteX47" fmla="*/ 285750 w 5992852"/>
                  <a:gd name="connsiteY47" fmla="*/ 2009784 h 4581534"/>
                  <a:gd name="connsiteX48" fmla="*/ 180975 w 5992852"/>
                  <a:gd name="connsiteY48" fmla="*/ 2009784 h 4581534"/>
                  <a:gd name="connsiteX49" fmla="*/ 190500 w 5992852"/>
                  <a:gd name="connsiteY49" fmla="*/ 1857384 h 4581534"/>
                  <a:gd name="connsiteX50" fmla="*/ 323850 w 5992852"/>
                  <a:gd name="connsiteY50" fmla="*/ 1638309 h 4581534"/>
                  <a:gd name="connsiteX51" fmla="*/ 276225 w 5992852"/>
                  <a:gd name="connsiteY51" fmla="*/ 1476384 h 4581534"/>
                  <a:gd name="connsiteX0" fmla="*/ 276225 w 5992852"/>
                  <a:gd name="connsiteY0" fmla="*/ 1476384 h 4581534"/>
                  <a:gd name="connsiteX1" fmla="*/ 19050 w 5992852"/>
                  <a:gd name="connsiteY1" fmla="*/ 1628784 h 4581534"/>
                  <a:gd name="connsiteX2" fmla="*/ 0 w 5992852"/>
                  <a:gd name="connsiteY2" fmla="*/ 1809759 h 4581534"/>
                  <a:gd name="connsiteX3" fmla="*/ 85725 w 5992852"/>
                  <a:gd name="connsiteY3" fmla="*/ 2085984 h 4581534"/>
                  <a:gd name="connsiteX4" fmla="*/ 428625 w 5992852"/>
                  <a:gd name="connsiteY4" fmla="*/ 2181234 h 4581534"/>
                  <a:gd name="connsiteX5" fmla="*/ 390525 w 5992852"/>
                  <a:gd name="connsiteY5" fmla="*/ 3086109 h 4581534"/>
                  <a:gd name="connsiteX6" fmla="*/ 95250 w 5992852"/>
                  <a:gd name="connsiteY6" fmla="*/ 3371859 h 4581534"/>
                  <a:gd name="connsiteX7" fmla="*/ 161925 w 5992852"/>
                  <a:gd name="connsiteY7" fmla="*/ 3676659 h 4581534"/>
                  <a:gd name="connsiteX8" fmla="*/ 457200 w 5992852"/>
                  <a:gd name="connsiteY8" fmla="*/ 3924309 h 4581534"/>
                  <a:gd name="connsiteX9" fmla="*/ 752475 w 5992852"/>
                  <a:gd name="connsiteY9" fmla="*/ 3981459 h 4581534"/>
                  <a:gd name="connsiteX10" fmla="*/ 733425 w 5992852"/>
                  <a:gd name="connsiteY10" fmla="*/ 4267209 h 4581534"/>
                  <a:gd name="connsiteX11" fmla="*/ 733425 w 5992852"/>
                  <a:gd name="connsiteY11" fmla="*/ 4352934 h 4581534"/>
                  <a:gd name="connsiteX12" fmla="*/ 1295400 w 5992852"/>
                  <a:gd name="connsiteY12" fmla="*/ 4486284 h 4581534"/>
                  <a:gd name="connsiteX13" fmla="*/ 1524000 w 5992852"/>
                  <a:gd name="connsiteY13" fmla="*/ 4467234 h 4581534"/>
                  <a:gd name="connsiteX14" fmla="*/ 1571625 w 5992852"/>
                  <a:gd name="connsiteY14" fmla="*/ 4257684 h 4581534"/>
                  <a:gd name="connsiteX15" fmla="*/ 1666875 w 5992852"/>
                  <a:gd name="connsiteY15" fmla="*/ 3990984 h 4581534"/>
                  <a:gd name="connsiteX16" fmla="*/ 1733550 w 5992852"/>
                  <a:gd name="connsiteY16" fmla="*/ 3743334 h 4581534"/>
                  <a:gd name="connsiteX17" fmla="*/ 2381250 w 5992852"/>
                  <a:gd name="connsiteY17" fmla="*/ 3743334 h 4581534"/>
                  <a:gd name="connsiteX18" fmla="*/ 2124075 w 5992852"/>
                  <a:gd name="connsiteY18" fmla="*/ 3895734 h 4581534"/>
                  <a:gd name="connsiteX19" fmla="*/ 2114550 w 5992852"/>
                  <a:gd name="connsiteY19" fmla="*/ 4067184 h 4581534"/>
                  <a:gd name="connsiteX20" fmla="*/ 2400300 w 5992852"/>
                  <a:gd name="connsiteY20" fmla="*/ 4552959 h 4581534"/>
                  <a:gd name="connsiteX21" fmla="*/ 2647950 w 5992852"/>
                  <a:gd name="connsiteY21" fmla="*/ 4581534 h 4581534"/>
                  <a:gd name="connsiteX22" fmla="*/ 2876550 w 5992852"/>
                  <a:gd name="connsiteY22" fmla="*/ 4419609 h 4581534"/>
                  <a:gd name="connsiteX23" fmla="*/ 3200400 w 5992852"/>
                  <a:gd name="connsiteY23" fmla="*/ 4143384 h 4581534"/>
                  <a:gd name="connsiteX24" fmla="*/ 3324225 w 5992852"/>
                  <a:gd name="connsiteY24" fmla="*/ 4171959 h 4581534"/>
                  <a:gd name="connsiteX25" fmla="*/ 3457575 w 5992852"/>
                  <a:gd name="connsiteY25" fmla="*/ 4191009 h 4581534"/>
                  <a:gd name="connsiteX26" fmla="*/ 3800475 w 5992852"/>
                  <a:gd name="connsiteY26" fmla="*/ 4200534 h 4581534"/>
                  <a:gd name="connsiteX27" fmla="*/ 3914775 w 5992852"/>
                  <a:gd name="connsiteY27" fmla="*/ 4095759 h 4581534"/>
                  <a:gd name="connsiteX28" fmla="*/ 3876675 w 5992852"/>
                  <a:gd name="connsiteY28" fmla="*/ 3514734 h 4581534"/>
                  <a:gd name="connsiteX29" fmla="*/ 3733800 w 5992852"/>
                  <a:gd name="connsiteY29" fmla="*/ 3143259 h 4581534"/>
                  <a:gd name="connsiteX30" fmla="*/ 3686175 w 5992852"/>
                  <a:gd name="connsiteY30" fmla="*/ 2943234 h 4581534"/>
                  <a:gd name="connsiteX31" fmla="*/ 3867150 w 5992852"/>
                  <a:gd name="connsiteY31" fmla="*/ 3000384 h 4581534"/>
                  <a:gd name="connsiteX32" fmla="*/ 4057650 w 5992852"/>
                  <a:gd name="connsiteY32" fmla="*/ 3181359 h 4581534"/>
                  <a:gd name="connsiteX33" fmla="*/ 4181475 w 5992852"/>
                  <a:gd name="connsiteY33" fmla="*/ 3267084 h 4581534"/>
                  <a:gd name="connsiteX34" fmla="*/ 4400550 w 5992852"/>
                  <a:gd name="connsiteY34" fmla="*/ 3267084 h 4581534"/>
                  <a:gd name="connsiteX35" fmla="*/ 4543425 w 5992852"/>
                  <a:gd name="connsiteY35" fmla="*/ 3190884 h 4581534"/>
                  <a:gd name="connsiteX36" fmla="*/ 4648200 w 5992852"/>
                  <a:gd name="connsiteY36" fmla="*/ 3009909 h 4581534"/>
                  <a:gd name="connsiteX37" fmla="*/ 4714875 w 5992852"/>
                  <a:gd name="connsiteY37" fmla="*/ 2828934 h 4581534"/>
                  <a:gd name="connsiteX38" fmla="*/ 5286375 w 5992852"/>
                  <a:gd name="connsiteY38" fmla="*/ 2819409 h 4581534"/>
                  <a:gd name="connsiteX39" fmla="*/ 5753100 w 5992852"/>
                  <a:gd name="connsiteY39" fmla="*/ 742959 h 4581534"/>
                  <a:gd name="connsiteX40" fmla="*/ 5162550 w 5992852"/>
                  <a:gd name="connsiteY40" fmla="*/ 1104909 h 4581534"/>
                  <a:gd name="connsiteX41" fmla="*/ 4972050 w 5992852"/>
                  <a:gd name="connsiteY41" fmla="*/ 742959 h 4581534"/>
                  <a:gd name="connsiteX42" fmla="*/ 3990975 w 5992852"/>
                  <a:gd name="connsiteY42" fmla="*/ 47634 h 4581534"/>
                  <a:gd name="connsiteX43" fmla="*/ 2733675 w 5992852"/>
                  <a:gd name="connsiteY43" fmla="*/ 333384 h 4581534"/>
                  <a:gd name="connsiteX44" fmla="*/ 1962150 w 5992852"/>
                  <a:gd name="connsiteY44" fmla="*/ 990609 h 4581534"/>
                  <a:gd name="connsiteX45" fmla="*/ 971550 w 5992852"/>
                  <a:gd name="connsiteY45" fmla="*/ 1295409 h 4581534"/>
                  <a:gd name="connsiteX46" fmla="*/ 523875 w 5992852"/>
                  <a:gd name="connsiteY46" fmla="*/ 1933584 h 4581534"/>
                  <a:gd name="connsiteX47" fmla="*/ 285750 w 5992852"/>
                  <a:gd name="connsiteY47" fmla="*/ 2009784 h 4581534"/>
                  <a:gd name="connsiteX48" fmla="*/ 180975 w 5992852"/>
                  <a:gd name="connsiteY48" fmla="*/ 2009784 h 4581534"/>
                  <a:gd name="connsiteX49" fmla="*/ 190500 w 5992852"/>
                  <a:gd name="connsiteY49" fmla="*/ 1857384 h 4581534"/>
                  <a:gd name="connsiteX50" fmla="*/ 323850 w 5992852"/>
                  <a:gd name="connsiteY50" fmla="*/ 1638309 h 4581534"/>
                  <a:gd name="connsiteX51" fmla="*/ 276225 w 5992852"/>
                  <a:gd name="connsiteY51" fmla="*/ 1476384 h 4581534"/>
                  <a:gd name="connsiteX0" fmla="*/ 276225 w 5992852"/>
                  <a:gd name="connsiteY0" fmla="*/ 1476384 h 4581534"/>
                  <a:gd name="connsiteX1" fmla="*/ 0 w 5992852"/>
                  <a:gd name="connsiteY1" fmla="*/ 1809759 h 4581534"/>
                  <a:gd name="connsiteX2" fmla="*/ 85725 w 5992852"/>
                  <a:gd name="connsiteY2" fmla="*/ 2085984 h 4581534"/>
                  <a:gd name="connsiteX3" fmla="*/ 428625 w 5992852"/>
                  <a:gd name="connsiteY3" fmla="*/ 2181234 h 4581534"/>
                  <a:gd name="connsiteX4" fmla="*/ 390525 w 5992852"/>
                  <a:gd name="connsiteY4" fmla="*/ 3086109 h 4581534"/>
                  <a:gd name="connsiteX5" fmla="*/ 95250 w 5992852"/>
                  <a:gd name="connsiteY5" fmla="*/ 3371859 h 4581534"/>
                  <a:gd name="connsiteX6" fmla="*/ 161925 w 5992852"/>
                  <a:gd name="connsiteY6" fmla="*/ 3676659 h 4581534"/>
                  <a:gd name="connsiteX7" fmla="*/ 457200 w 5992852"/>
                  <a:gd name="connsiteY7" fmla="*/ 3924309 h 4581534"/>
                  <a:gd name="connsiteX8" fmla="*/ 752475 w 5992852"/>
                  <a:gd name="connsiteY8" fmla="*/ 3981459 h 4581534"/>
                  <a:gd name="connsiteX9" fmla="*/ 733425 w 5992852"/>
                  <a:gd name="connsiteY9" fmla="*/ 4267209 h 4581534"/>
                  <a:gd name="connsiteX10" fmla="*/ 733425 w 5992852"/>
                  <a:gd name="connsiteY10" fmla="*/ 4352934 h 4581534"/>
                  <a:gd name="connsiteX11" fmla="*/ 1295400 w 5992852"/>
                  <a:gd name="connsiteY11" fmla="*/ 4486284 h 4581534"/>
                  <a:gd name="connsiteX12" fmla="*/ 1524000 w 5992852"/>
                  <a:gd name="connsiteY12" fmla="*/ 4467234 h 4581534"/>
                  <a:gd name="connsiteX13" fmla="*/ 1571625 w 5992852"/>
                  <a:gd name="connsiteY13" fmla="*/ 4257684 h 4581534"/>
                  <a:gd name="connsiteX14" fmla="*/ 1666875 w 5992852"/>
                  <a:gd name="connsiteY14" fmla="*/ 3990984 h 4581534"/>
                  <a:gd name="connsiteX15" fmla="*/ 1733550 w 5992852"/>
                  <a:gd name="connsiteY15" fmla="*/ 3743334 h 4581534"/>
                  <a:gd name="connsiteX16" fmla="*/ 2381250 w 5992852"/>
                  <a:gd name="connsiteY16" fmla="*/ 3743334 h 4581534"/>
                  <a:gd name="connsiteX17" fmla="*/ 2124075 w 5992852"/>
                  <a:gd name="connsiteY17" fmla="*/ 3895734 h 4581534"/>
                  <a:gd name="connsiteX18" fmla="*/ 2114550 w 5992852"/>
                  <a:gd name="connsiteY18" fmla="*/ 4067184 h 4581534"/>
                  <a:gd name="connsiteX19" fmla="*/ 2400300 w 5992852"/>
                  <a:gd name="connsiteY19" fmla="*/ 4552959 h 4581534"/>
                  <a:gd name="connsiteX20" fmla="*/ 2647950 w 5992852"/>
                  <a:gd name="connsiteY20" fmla="*/ 4581534 h 4581534"/>
                  <a:gd name="connsiteX21" fmla="*/ 2876550 w 5992852"/>
                  <a:gd name="connsiteY21" fmla="*/ 4419609 h 4581534"/>
                  <a:gd name="connsiteX22" fmla="*/ 3200400 w 5992852"/>
                  <a:gd name="connsiteY22" fmla="*/ 4143384 h 4581534"/>
                  <a:gd name="connsiteX23" fmla="*/ 3324225 w 5992852"/>
                  <a:gd name="connsiteY23" fmla="*/ 4171959 h 4581534"/>
                  <a:gd name="connsiteX24" fmla="*/ 3457575 w 5992852"/>
                  <a:gd name="connsiteY24" fmla="*/ 4191009 h 4581534"/>
                  <a:gd name="connsiteX25" fmla="*/ 3800475 w 5992852"/>
                  <a:gd name="connsiteY25" fmla="*/ 4200534 h 4581534"/>
                  <a:gd name="connsiteX26" fmla="*/ 3914775 w 5992852"/>
                  <a:gd name="connsiteY26" fmla="*/ 4095759 h 4581534"/>
                  <a:gd name="connsiteX27" fmla="*/ 3876675 w 5992852"/>
                  <a:gd name="connsiteY27" fmla="*/ 3514734 h 4581534"/>
                  <a:gd name="connsiteX28" fmla="*/ 3733800 w 5992852"/>
                  <a:gd name="connsiteY28" fmla="*/ 3143259 h 4581534"/>
                  <a:gd name="connsiteX29" fmla="*/ 3686175 w 5992852"/>
                  <a:gd name="connsiteY29" fmla="*/ 2943234 h 4581534"/>
                  <a:gd name="connsiteX30" fmla="*/ 3867150 w 5992852"/>
                  <a:gd name="connsiteY30" fmla="*/ 3000384 h 4581534"/>
                  <a:gd name="connsiteX31" fmla="*/ 4057650 w 5992852"/>
                  <a:gd name="connsiteY31" fmla="*/ 3181359 h 4581534"/>
                  <a:gd name="connsiteX32" fmla="*/ 4181475 w 5992852"/>
                  <a:gd name="connsiteY32" fmla="*/ 3267084 h 4581534"/>
                  <a:gd name="connsiteX33" fmla="*/ 4400550 w 5992852"/>
                  <a:gd name="connsiteY33" fmla="*/ 3267084 h 4581534"/>
                  <a:gd name="connsiteX34" fmla="*/ 4543425 w 5992852"/>
                  <a:gd name="connsiteY34" fmla="*/ 3190884 h 4581534"/>
                  <a:gd name="connsiteX35" fmla="*/ 4648200 w 5992852"/>
                  <a:gd name="connsiteY35" fmla="*/ 3009909 h 4581534"/>
                  <a:gd name="connsiteX36" fmla="*/ 4714875 w 5992852"/>
                  <a:gd name="connsiteY36" fmla="*/ 2828934 h 4581534"/>
                  <a:gd name="connsiteX37" fmla="*/ 5286375 w 5992852"/>
                  <a:gd name="connsiteY37" fmla="*/ 2819409 h 4581534"/>
                  <a:gd name="connsiteX38" fmla="*/ 5753100 w 5992852"/>
                  <a:gd name="connsiteY38" fmla="*/ 742959 h 4581534"/>
                  <a:gd name="connsiteX39" fmla="*/ 5162550 w 5992852"/>
                  <a:gd name="connsiteY39" fmla="*/ 1104909 h 4581534"/>
                  <a:gd name="connsiteX40" fmla="*/ 4972050 w 5992852"/>
                  <a:gd name="connsiteY40" fmla="*/ 742959 h 4581534"/>
                  <a:gd name="connsiteX41" fmla="*/ 3990975 w 5992852"/>
                  <a:gd name="connsiteY41" fmla="*/ 47634 h 4581534"/>
                  <a:gd name="connsiteX42" fmla="*/ 2733675 w 5992852"/>
                  <a:gd name="connsiteY42" fmla="*/ 333384 h 4581534"/>
                  <a:gd name="connsiteX43" fmla="*/ 1962150 w 5992852"/>
                  <a:gd name="connsiteY43" fmla="*/ 990609 h 4581534"/>
                  <a:gd name="connsiteX44" fmla="*/ 971550 w 5992852"/>
                  <a:gd name="connsiteY44" fmla="*/ 1295409 h 4581534"/>
                  <a:gd name="connsiteX45" fmla="*/ 523875 w 5992852"/>
                  <a:gd name="connsiteY45" fmla="*/ 1933584 h 4581534"/>
                  <a:gd name="connsiteX46" fmla="*/ 285750 w 5992852"/>
                  <a:gd name="connsiteY46" fmla="*/ 2009784 h 4581534"/>
                  <a:gd name="connsiteX47" fmla="*/ 180975 w 5992852"/>
                  <a:gd name="connsiteY47" fmla="*/ 2009784 h 4581534"/>
                  <a:gd name="connsiteX48" fmla="*/ 190500 w 5992852"/>
                  <a:gd name="connsiteY48" fmla="*/ 1857384 h 4581534"/>
                  <a:gd name="connsiteX49" fmla="*/ 323850 w 5992852"/>
                  <a:gd name="connsiteY49" fmla="*/ 1638309 h 4581534"/>
                  <a:gd name="connsiteX50" fmla="*/ 276225 w 5992852"/>
                  <a:gd name="connsiteY50" fmla="*/ 1476384 h 4581534"/>
                  <a:gd name="connsiteX0" fmla="*/ 276225 w 5992852"/>
                  <a:gd name="connsiteY0" fmla="*/ 1476384 h 4581534"/>
                  <a:gd name="connsiteX1" fmla="*/ 0 w 5992852"/>
                  <a:gd name="connsiteY1" fmla="*/ 1809759 h 4581534"/>
                  <a:gd name="connsiteX2" fmla="*/ 85725 w 5992852"/>
                  <a:gd name="connsiteY2" fmla="*/ 2085984 h 4581534"/>
                  <a:gd name="connsiteX3" fmla="*/ 428625 w 5992852"/>
                  <a:gd name="connsiteY3" fmla="*/ 2181234 h 4581534"/>
                  <a:gd name="connsiteX4" fmla="*/ 390525 w 5992852"/>
                  <a:gd name="connsiteY4" fmla="*/ 3086109 h 4581534"/>
                  <a:gd name="connsiteX5" fmla="*/ 95250 w 5992852"/>
                  <a:gd name="connsiteY5" fmla="*/ 3371859 h 4581534"/>
                  <a:gd name="connsiteX6" fmla="*/ 161925 w 5992852"/>
                  <a:gd name="connsiteY6" fmla="*/ 3676659 h 4581534"/>
                  <a:gd name="connsiteX7" fmla="*/ 457200 w 5992852"/>
                  <a:gd name="connsiteY7" fmla="*/ 3924309 h 4581534"/>
                  <a:gd name="connsiteX8" fmla="*/ 752475 w 5992852"/>
                  <a:gd name="connsiteY8" fmla="*/ 3981459 h 4581534"/>
                  <a:gd name="connsiteX9" fmla="*/ 733425 w 5992852"/>
                  <a:gd name="connsiteY9" fmla="*/ 4267209 h 4581534"/>
                  <a:gd name="connsiteX10" fmla="*/ 733425 w 5992852"/>
                  <a:gd name="connsiteY10" fmla="*/ 4352934 h 4581534"/>
                  <a:gd name="connsiteX11" fmla="*/ 1295400 w 5992852"/>
                  <a:gd name="connsiteY11" fmla="*/ 4486284 h 4581534"/>
                  <a:gd name="connsiteX12" fmla="*/ 1524000 w 5992852"/>
                  <a:gd name="connsiteY12" fmla="*/ 4467234 h 4581534"/>
                  <a:gd name="connsiteX13" fmla="*/ 1571625 w 5992852"/>
                  <a:gd name="connsiteY13" fmla="*/ 4257684 h 4581534"/>
                  <a:gd name="connsiteX14" fmla="*/ 1666875 w 5992852"/>
                  <a:gd name="connsiteY14" fmla="*/ 3990984 h 4581534"/>
                  <a:gd name="connsiteX15" fmla="*/ 1733550 w 5992852"/>
                  <a:gd name="connsiteY15" fmla="*/ 3743334 h 4581534"/>
                  <a:gd name="connsiteX16" fmla="*/ 2381250 w 5992852"/>
                  <a:gd name="connsiteY16" fmla="*/ 3743334 h 4581534"/>
                  <a:gd name="connsiteX17" fmla="*/ 2124075 w 5992852"/>
                  <a:gd name="connsiteY17" fmla="*/ 3895734 h 4581534"/>
                  <a:gd name="connsiteX18" fmla="*/ 2114550 w 5992852"/>
                  <a:gd name="connsiteY18" fmla="*/ 4067184 h 4581534"/>
                  <a:gd name="connsiteX19" fmla="*/ 2400300 w 5992852"/>
                  <a:gd name="connsiteY19" fmla="*/ 4552959 h 4581534"/>
                  <a:gd name="connsiteX20" fmla="*/ 2647950 w 5992852"/>
                  <a:gd name="connsiteY20" fmla="*/ 4581534 h 4581534"/>
                  <a:gd name="connsiteX21" fmla="*/ 2876550 w 5992852"/>
                  <a:gd name="connsiteY21" fmla="*/ 4419609 h 4581534"/>
                  <a:gd name="connsiteX22" fmla="*/ 3200400 w 5992852"/>
                  <a:gd name="connsiteY22" fmla="*/ 4143384 h 4581534"/>
                  <a:gd name="connsiteX23" fmla="*/ 3324225 w 5992852"/>
                  <a:gd name="connsiteY23" fmla="*/ 4171959 h 4581534"/>
                  <a:gd name="connsiteX24" fmla="*/ 3457575 w 5992852"/>
                  <a:gd name="connsiteY24" fmla="*/ 4191009 h 4581534"/>
                  <a:gd name="connsiteX25" fmla="*/ 3800475 w 5992852"/>
                  <a:gd name="connsiteY25" fmla="*/ 4200534 h 4581534"/>
                  <a:gd name="connsiteX26" fmla="*/ 3914775 w 5992852"/>
                  <a:gd name="connsiteY26" fmla="*/ 4095759 h 4581534"/>
                  <a:gd name="connsiteX27" fmla="*/ 3876675 w 5992852"/>
                  <a:gd name="connsiteY27" fmla="*/ 3514734 h 4581534"/>
                  <a:gd name="connsiteX28" fmla="*/ 3733800 w 5992852"/>
                  <a:gd name="connsiteY28" fmla="*/ 3143259 h 4581534"/>
                  <a:gd name="connsiteX29" fmla="*/ 3686175 w 5992852"/>
                  <a:gd name="connsiteY29" fmla="*/ 2943234 h 4581534"/>
                  <a:gd name="connsiteX30" fmla="*/ 3867150 w 5992852"/>
                  <a:gd name="connsiteY30" fmla="*/ 3000384 h 4581534"/>
                  <a:gd name="connsiteX31" fmla="*/ 4057650 w 5992852"/>
                  <a:gd name="connsiteY31" fmla="*/ 3181359 h 4581534"/>
                  <a:gd name="connsiteX32" fmla="*/ 4181475 w 5992852"/>
                  <a:gd name="connsiteY32" fmla="*/ 3267084 h 4581534"/>
                  <a:gd name="connsiteX33" fmla="*/ 4400550 w 5992852"/>
                  <a:gd name="connsiteY33" fmla="*/ 3267084 h 4581534"/>
                  <a:gd name="connsiteX34" fmla="*/ 4543425 w 5992852"/>
                  <a:gd name="connsiteY34" fmla="*/ 3190884 h 4581534"/>
                  <a:gd name="connsiteX35" fmla="*/ 4648200 w 5992852"/>
                  <a:gd name="connsiteY35" fmla="*/ 3009909 h 4581534"/>
                  <a:gd name="connsiteX36" fmla="*/ 4714875 w 5992852"/>
                  <a:gd name="connsiteY36" fmla="*/ 2828934 h 4581534"/>
                  <a:gd name="connsiteX37" fmla="*/ 5286375 w 5992852"/>
                  <a:gd name="connsiteY37" fmla="*/ 2819409 h 4581534"/>
                  <a:gd name="connsiteX38" fmla="*/ 5753100 w 5992852"/>
                  <a:gd name="connsiteY38" fmla="*/ 742959 h 4581534"/>
                  <a:gd name="connsiteX39" fmla="*/ 5162550 w 5992852"/>
                  <a:gd name="connsiteY39" fmla="*/ 1104909 h 4581534"/>
                  <a:gd name="connsiteX40" fmla="*/ 4972050 w 5992852"/>
                  <a:gd name="connsiteY40" fmla="*/ 742959 h 4581534"/>
                  <a:gd name="connsiteX41" fmla="*/ 3990975 w 5992852"/>
                  <a:gd name="connsiteY41" fmla="*/ 47634 h 4581534"/>
                  <a:gd name="connsiteX42" fmla="*/ 2733675 w 5992852"/>
                  <a:gd name="connsiteY42" fmla="*/ 333384 h 4581534"/>
                  <a:gd name="connsiteX43" fmla="*/ 1962150 w 5992852"/>
                  <a:gd name="connsiteY43" fmla="*/ 990609 h 4581534"/>
                  <a:gd name="connsiteX44" fmla="*/ 971550 w 5992852"/>
                  <a:gd name="connsiteY44" fmla="*/ 1295409 h 4581534"/>
                  <a:gd name="connsiteX45" fmla="*/ 523875 w 5992852"/>
                  <a:gd name="connsiteY45" fmla="*/ 1933584 h 4581534"/>
                  <a:gd name="connsiteX46" fmla="*/ 285750 w 5992852"/>
                  <a:gd name="connsiteY46" fmla="*/ 2009784 h 4581534"/>
                  <a:gd name="connsiteX47" fmla="*/ 180975 w 5992852"/>
                  <a:gd name="connsiteY47" fmla="*/ 2009784 h 4581534"/>
                  <a:gd name="connsiteX48" fmla="*/ 190500 w 5992852"/>
                  <a:gd name="connsiteY48" fmla="*/ 1857384 h 4581534"/>
                  <a:gd name="connsiteX49" fmla="*/ 323850 w 5992852"/>
                  <a:gd name="connsiteY49" fmla="*/ 1638309 h 4581534"/>
                  <a:gd name="connsiteX50" fmla="*/ 276225 w 5992852"/>
                  <a:gd name="connsiteY50" fmla="*/ 1476384 h 4581534"/>
                  <a:gd name="connsiteX0" fmla="*/ 276225 w 5992852"/>
                  <a:gd name="connsiteY0" fmla="*/ 1476384 h 4581534"/>
                  <a:gd name="connsiteX1" fmla="*/ 0 w 5992852"/>
                  <a:gd name="connsiteY1" fmla="*/ 1809759 h 4581534"/>
                  <a:gd name="connsiteX2" fmla="*/ 85725 w 5992852"/>
                  <a:gd name="connsiteY2" fmla="*/ 2085984 h 4581534"/>
                  <a:gd name="connsiteX3" fmla="*/ 428625 w 5992852"/>
                  <a:gd name="connsiteY3" fmla="*/ 2181234 h 4581534"/>
                  <a:gd name="connsiteX4" fmla="*/ 390525 w 5992852"/>
                  <a:gd name="connsiteY4" fmla="*/ 3086109 h 4581534"/>
                  <a:gd name="connsiteX5" fmla="*/ 95250 w 5992852"/>
                  <a:gd name="connsiteY5" fmla="*/ 3371859 h 4581534"/>
                  <a:gd name="connsiteX6" fmla="*/ 161925 w 5992852"/>
                  <a:gd name="connsiteY6" fmla="*/ 3676659 h 4581534"/>
                  <a:gd name="connsiteX7" fmla="*/ 457200 w 5992852"/>
                  <a:gd name="connsiteY7" fmla="*/ 3924309 h 4581534"/>
                  <a:gd name="connsiteX8" fmla="*/ 752475 w 5992852"/>
                  <a:gd name="connsiteY8" fmla="*/ 3981459 h 4581534"/>
                  <a:gd name="connsiteX9" fmla="*/ 733425 w 5992852"/>
                  <a:gd name="connsiteY9" fmla="*/ 4267209 h 4581534"/>
                  <a:gd name="connsiteX10" fmla="*/ 733425 w 5992852"/>
                  <a:gd name="connsiteY10" fmla="*/ 4352934 h 4581534"/>
                  <a:gd name="connsiteX11" fmla="*/ 1295400 w 5992852"/>
                  <a:gd name="connsiteY11" fmla="*/ 4486284 h 4581534"/>
                  <a:gd name="connsiteX12" fmla="*/ 1524000 w 5992852"/>
                  <a:gd name="connsiteY12" fmla="*/ 4467234 h 4581534"/>
                  <a:gd name="connsiteX13" fmla="*/ 1571625 w 5992852"/>
                  <a:gd name="connsiteY13" fmla="*/ 4257684 h 4581534"/>
                  <a:gd name="connsiteX14" fmla="*/ 1666875 w 5992852"/>
                  <a:gd name="connsiteY14" fmla="*/ 3990984 h 4581534"/>
                  <a:gd name="connsiteX15" fmla="*/ 1733550 w 5992852"/>
                  <a:gd name="connsiteY15" fmla="*/ 3743334 h 4581534"/>
                  <a:gd name="connsiteX16" fmla="*/ 2381250 w 5992852"/>
                  <a:gd name="connsiteY16" fmla="*/ 3743334 h 4581534"/>
                  <a:gd name="connsiteX17" fmla="*/ 2124075 w 5992852"/>
                  <a:gd name="connsiteY17" fmla="*/ 3895734 h 4581534"/>
                  <a:gd name="connsiteX18" fmla="*/ 2114550 w 5992852"/>
                  <a:gd name="connsiteY18" fmla="*/ 4067184 h 4581534"/>
                  <a:gd name="connsiteX19" fmla="*/ 2400300 w 5992852"/>
                  <a:gd name="connsiteY19" fmla="*/ 4552959 h 4581534"/>
                  <a:gd name="connsiteX20" fmla="*/ 2647950 w 5992852"/>
                  <a:gd name="connsiteY20" fmla="*/ 4581534 h 4581534"/>
                  <a:gd name="connsiteX21" fmla="*/ 2876550 w 5992852"/>
                  <a:gd name="connsiteY21" fmla="*/ 4419609 h 4581534"/>
                  <a:gd name="connsiteX22" fmla="*/ 3200400 w 5992852"/>
                  <a:gd name="connsiteY22" fmla="*/ 4143384 h 4581534"/>
                  <a:gd name="connsiteX23" fmla="*/ 3324225 w 5992852"/>
                  <a:gd name="connsiteY23" fmla="*/ 4171959 h 4581534"/>
                  <a:gd name="connsiteX24" fmla="*/ 3457575 w 5992852"/>
                  <a:gd name="connsiteY24" fmla="*/ 4191009 h 4581534"/>
                  <a:gd name="connsiteX25" fmla="*/ 3800475 w 5992852"/>
                  <a:gd name="connsiteY25" fmla="*/ 4200534 h 4581534"/>
                  <a:gd name="connsiteX26" fmla="*/ 3914775 w 5992852"/>
                  <a:gd name="connsiteY26" fmla="*/ 4095759 h 4581534"/>
                  <a:gd name="connsiteX27" fmla="*/ 3876675 w 5992852"/>
                  <a:gd name="connsiteY27" fmla="*/ 3514734 h 4581534"/>
                  <a:gd name="connsiteX28" fmla="*/ 3733800 w 5992852"/>
                  <a:gd name="connsiteY28" fmla="*/ 3143259 h 4581534"/>
                  <a:gd name="connsiteX29" fmla="*/ 3686175 w 5992852"/>
                  <a:gd name="connsiteY29" fmla="*/ 2943234 h 4581534"/>
                  <a:gd name="connsiteX30" fmla="*/ 3867150 w 5992852"/>
                  <a:gd name="connsiteY30" fmla="*/ 3000384 h 4581534"/>
                  <a:gd name="connsiteX31" fmla="*/ 4057650 w 5992852"/>
                  <a:gd name="connsiteY31" fmla="*/ 3181359 h 4581534"/>
                  <a:gd name="connsiteX32" fmla="*/ 4181475 w 5992852"/>
                  <a:gd name="connsiteY32" fmla="*/ 3267084 h 4581534"/>
                  <a:gd name="connsiteX33" fmla="*/ 4400550 w 5992852"/>
                  <a:gd name="connsiteY33" fmla="*/ 3267084 h 4581534"/>
                  <a:gd name="connsiteX34" fmla="*/ 4543425 w 5992852"/>
                  <a:gd name="connsiteY34" fmla="*/ 3190884 h 4581534"/>
                  <a:gd name="connsiteX35" fmla="*/ 4648200 w 5992852"/>
                  <a:gd name="connsiteY35" fmla="*/ 3009909 h 4581534"/>
                  <a:gd name="connsiteX36" fmla="*/ 4714875 w 5992852"/>
                  <a:gd name="connsiteY36" fmla="*/ 2828934 h 4581534"/>
                  <a:gd name="connsiteX37" fmla="*/ 5286375 w 5992852"/>
                  <a:gd name="connsiteY37" fmla="*/ 2819409 h 4581534"/>
                  <a:gd name="connsiteX38" fmla="*/ 5753100 w 5992852"/>
                  <a:gd name="connsiteY38" fmla="*/ 742959 h 4581534"/>
                  <a:gd name="connsiteX39" fmla="*/ 5162550 w 5992852"/>
                  <a:gd name="connsiteY39" fmla="*/ 1104909 h 4581534"/>
                  <a:gd name="connsiteX40" fmla="*/ 4972050 w 5992852"/>
                  <a:gd name="connsiteY40" fmla="*/ 742959 h 4581534"/>
                  <a:gd name="connsiteX41" fmla="*/ 3990975 w 5992852"/>
                  <a:gd name="connsiteY41" fmla="*/ 47634 h 4581534"/>
                  <a:gd name="connsiteX42" fmla="*/ 2733675 w 5992852"/>
                  <a:gd name="connsiteY42" fmla="*/ 333384 h 4581534"/>
                  <a:gd name="connsiteX43" fmla="*/ 1962150 w 5992852"/>
                  <a:gd name="connsiteY43" fmla="*/ 990609 h 4581534"/>
                  <a:gd name="connsiteX44" fmla="*/ 971550 w 5992852"/>
                  <a:gd name="connsiteY44" fmla="*/ 1295409 h 4581534"/>
                  <a:gd name="connsiteX45" fmla="*/ 523875 w 5992852"/>
                  <a:gd name="connsiteY45" fmla="*/ 1933584 h 4581534"/>
                  <a:gd name="connsiteX46" fmla="*/ 285750 w 5992852"/>
                  <a:gd name="connsiteY46" fmla="*/ 2009784 h 4581534"/>
                  <a:gd name="connsiteX47" fmla="*/ 180975 w 5992852"/>
                  <a:gd name="connsiteY47" fmla="*/ 2009784 h 4581534"/>
                  <a:gd name="connsiteX48" fmla="*/ 190500 w 5992852"/>
                  <a:gd name="connsiteY48" fmla="*/ 1857384 h 4581534"/>
                  <a:gd name="connsiteX49" fmla="*/ 323850 w 5992852"/>
                  <a:gd name="connsiteY49" fmla="*/ 1638309 h 4581534"/>
                  <a:gd name="connsiteX50" fmla="*/ 276225 w 5992852"/>
                  <a:gd name="connsiteY50" fmla="*/ 1476384 h 458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992852" h="4581534">
                    <a:moveTo>
                      <a:pt x="276225" y="1476384"/>
                    </a:moveTo>
                    <a:cubicBezTo>
                      <a:pt x="88900" y="1577984"/>
                      <a:pt x="73025" y="1603384"/>
                      <a:pt x="0" y="1809759"/>
                    </a:cubicBezTo>
                    <a:lnTo>
                      <a:pt x="85725" y="2085984"/>
                    </a:lnTo>
                    <a:cubicBezTo>
                      <a:pt x="200025" y="2222509"/>
                      <a:pt x="323850" y="2235209"/>
                      <a:pt x="428625" y="2181234"/>
                    </a:cubicBezTo>
                    <a:lnTo>
                      <a:pt x="390525" y="3086109"/>
                    </a:lnTo>
                    <a:lnTo>
                      <a:pt x="95250" y="3371859"/>
                    </a:lnTo>
                    <a:lnTo>
                      <a:pt x="161925" y="3676659"/>
                    </a:lnTo>
                    <a:lnTo>
                      <a:pt x="457200" y="3924309"/>
                    </a:lnTo>
                    <a:lnTo>
                      <a:pt x="752475" y="3981459"/>
                    </a:lnTo>
                    <a:lnTo>
                      <a:pt x="733425" y="4267209"/>
                    </a:lnTo>
                    <a:lnTo>
                      <a:pt x="733425" y="4352934"/>
                    </a:lnTo>
                    <a:lnTo>
                      <a:pt x="1295400" y="4486284"/>
                    </a:lnTo>
                    <a:lnTo>
                      <a:pt x="1524000" y="4467234"/>
                    </a:lnTo>
                    <a:lnTo>
                      <a:pt x="1571625" y="4257684"/>
                    </a:lnTo>
                    <a:lnTo>
                      <a:pt x="1666875" y="3990984"/>
                    </a:lnTo>
                    <a:lnTo>
                      <a:pt x="1733550" y="3743334"/>
                    </a:lnTo>
                    <a:lnTo>
                      <a:pt x="2381250" y="3743334"/>
                    </a:lnTo>
                    <a:lnTo>
                      <a:pt x="2124075" y="3895734"/>
                    </a:lnTo>
                    <a:lnTo>
                      <a:pt x="2114550" y="4067184"/>
                    </a:lnTo>
                    <a:lnTo>
                      <a:pt x="2400300" y="4552959"/>
                    </a:lnTo>
                    <a:lnTo>
                      <a:pt x="2647950" y="4581534"/>
                    </a:lnTo>
                    <a:lnTo>
                      <a:pt x="2876550" y="4419609"/>
                    </a:lnTo>
                    <a:lnTo>
                      <a:pt x="3200400" y="4143384"/>
                    </a:lnTo>
                    <a:lnTo>
                      <a:pt x="3324225" y="4171959"/>
                    </a:lnTo>
                    <a:lnTo>
                      <a:pt x="3457575" y="4191009"/>
                    </a:lnTo>
                    <a:lnTo>
                      <a:pt x="3800475" y="4200534"/>
                    </a:lnTo>
                    <a:lnTo>
                      <a:pt x="3914775" y="4095759"/>
                    </a:lnTo>
                    <a:lnTo>
                      <a:pt x="3876675" y="3514734"/>
                    </a:lnTo>
                    <a:lnTo>
                      <a:pt x="3733800" y="3143259"/>
                    </a:lnTo>
                    <a:lnTo>
                      <a:pt x="3686175" y="2943234"/>
                    </a:lnTo>
                    <a:lnTo>
                      <a:pt x="3867150" y="3000384"/>
                    </a:lnTo>
                    <a:lnTo>
                      <a:pt x="4057650" y="3181359"/>
                    </a:lnTo>
                    <a:lnTo>
                      <a:pt x="4181475" y="3267084"/>
                    </a:lnTo>
                    <a:lnTo>
                      <a:pt x="4400550" y="3267084"/>
                    </a:lnTo>
                    <a:lnTo>
                      <a:pt x="4543425" y="3190884"/>
                    </a:lnTo>
                    <a:lnTo>
                      <a:pt x="4648200" y="3009909"/>
                    </a:lnTo>
                    <a:lnTo>
                      <a:pt x="4714875" y="2828934"/>
                    </a:lnTo>
                    <a:lnTo>
                      <a:pt x="5286375" y="2819409"/>
                    </a:lnTo>
                    <a:cubicBezTo>
                      <a:pt x="6308725" y="2489209"/>
                      <a:pt x="5988050" y="1158884"/>
                      <a:pt x="5753100" y="742959"/>
                    </a:cubicBezTo>
                    <a:lnTo>
                      <a:pt x="5162550" y="1104909"/>
                    </a:lnTo>
                    <a:lnTo>
                      <a:pt x="4972050" y="742959"/>
                    </a:lnTo>
                    <a:cubicBezTo>
                      <a:pt x="4645025" y="511184"/>
                      <a:pt x="4422775" y="231784"/>
                      <a:pt x="3990975" y="47634"/>
                    </a:cubicBezTo>
                    <a:cubicBezTo>
                      <a:pt x="3762375" y="9534"/>
                      <a:pt x="3381375" y="-123816"/>
                      <a:pt x="2733675" y="333384"/>
                    </a:cubicBezTo>
                    <a:cubicBezTo>
                      <a:pt x="2514600" y="666759"/>
                      <a:pt x="2219325" y="771534"/>
                      <a:pt x="1962150" y="990609"/>
                    </a:cubicBezTo>
                    <a:lnTo>
                      <a:pt x="971550" y="1295409"/>
                    </a:lnTo>
                    <a:lnTo>
                      <a:pt x="523875" y="1933584"/>
                    </a:lnTo>
                    <a:lnTo>
                      <a:pt x="285750" y="2009784"/>
                    </a:lnTo>
                    <a:lnTo>
                      <a:pt x="180975" y="2009784"/>
                    </a:lnTo>
                    <a:lnTo>
                      <a:pt x="190500" y="1857384"/>
                    </a:lnTo>
                    <a:lnTo>
                      <a:pt x="323850" y="1638309"/>
                    </a:lnTo>
                    <a:lnTo>
                      <a:pt x="276225" y="1476384"/>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000" b="1" dirty="0">
                  <a:solidFill>
                    <a:srgbClr val="0072C6"/>
                  </a:solidFill>
                  <a:latin typeface="Segoe UI Light"/>
                  <a:ea typeface="Segoe UI" pitchFamily="34" charset="0"/>
                  <a:cs typeface="Segoe UI" pitchFamily="34" charset="0"/>
                </a:endParaRPr>
              </a:p>
            </p:txBody>
          </p:sp>
          <p:grpSp>
            <p:nvGrpSpPr>
              <p:cNvPr id="87" name="Group 86"/>
              <p:cNvGrpSpPr/>
              <p:nvPr/>
            </p:nvGrpSpPr>
            <p:grpSpPr>
              <a:xfrm>
                <a:off x="5621256" y="5500688"/>
                <a:ext cx="790631" cy="627895"/>
                <a:chOff x="2960229" y="6196183"/>
                <a:chExt cx="612095" cy="486107"/>
              </a:xfrm>
              <a:solidFill>
                <a:schemeClr val="accent1">
                  <a:lumMod val="75000"/>
                </a:schemeClr>
              </a:solidFill>
            </p:grpSpPr>
            <p:sp>
              <p:nvSpPr>
                <p:cNvPr id="75" name="Freeform 6"/>
                <p:cNvSpPr>
                  <a:spLocks noEditPoints="1"/>
                </p:cNvSpPr>
                <p:nvPr/>
              </p:nvSpPr>
              <p:spPr bwMode="auto">
                <a:xfrm>
                  <a:off x="2960229" y="6196183"/>
                  <a:ext cx="612095" cy="486107"/>
                </a:xfrm>
                <a:custGeom>
                  <a:avLst/>
                  <a:gdLst>
                    <a:gd name="T0" fmla="*/ 160 w 246"/>
                    <a:gd name="T1" fmla="*/ 152 h 194"/>
                    <a:gd name="T2" fmla="*/ 131 w 246"/>
                    <a:gd name="T3" fmla="*/ 175 h 194"/>
                    <a:gd name="T4" fmla="*/ 97 w 246"/>
                    <a:gd name="T5" fmla="*/ 189 h 194"/>
                    <a:gd name="T6" fmla="*/ 75 w 246"/>
                    <a:gd name="T7" fmla="*/ 158 h 194"/>
                    <a:gd name="T8" fmla="*/ 56 w 246"/>
                    <a:gd name="T9" fmla="*/ 189 h 194"/>
                    <a:gd name="T10" fmla="*/ 30 w 246"/>
                    <a:gd name="T11" fmla="*/ 169 h 194"/>
                    <a:gd name="T12" fmla="*/ 8 w 246"/>
                    <a:gd name="T13" fmla="*/ 136 h 194"/>
                    <a:gd name="T14" fmla="*/ 6 w 246"/>
                    <a:gd name="T15" fmla="*/ 92 h 194"/>
                    <a:gd name="T16" fmla="*/ 18 w 246"/>
                    <a:gd name="T17" fmla="*/ 68 h 194"/>
                    <a:gd name="T18" fmla="*/ 11 w 246"/>
                    <a:gd name="T19" fmla="*/ 86 h 194"/>
                    <a:gd name="T20" fmla="*/ 70 w 246"/>
                    <a:gd name="T21" fmla="*/ 45 h 194"/>
                    <a:gd name="T22" fmla="*/ 111 w 246"/>
                    <a:gd name="T23" fmla="*/ 20 h 194"/>
                    <a:gd name="T24" fmla="*/ 209 w 246"/>
                    <a:gd name="T25" fmla="*/ 44 h 194"/>
                    <a:gd name="T26" fmla="*/ 238 w 246"/>
                    <a:gd name="T27" fmla="*/ 41 h 194"/>
                    <a:gd name="T28" fmla="*/ 206 w 246"/>
                    <a:gd name="T29" fmla="*/ 122 h 194"/>
                    <a:gd name="T30" fmla="*/ 163 w 246"/>
                    <a:gd name="T31" fmla="*/ 135 h 194"/>
                    <a:gd name="T32" fmla="*/ 139 w 246"/>
                    <a:gd name="T33" fmla="*/ 117 h 194"/>
                    <a:gd name="T34" fmla="*/ 189 w 246"/>
                    <a:gd name="T35" fmla="*/ 120 h 194"/>
                    <a:gd name="T36" fmla="*/ 172 w 246"/>
                    <a:gd name="T37" fmla="*/ 132 h 194"/>
                    <a:gd name="T38" fmla="*/ 196 w 246"/>
                    <a:gd name="T39" fmla="*/ 117 h 194"/>
                    <a:gd name="T40" fmla="*/ 234 w 246"/>
                    <a:gd name="T41" fmla="*/ 43 h 194"/>
                    <a:gd name="T42" fmla="*/ 210 w 246"/>
                    <a:gd name="T43" fmla="*/ 58 h 194"/>
                    <a:gd name="T44" fmla="*/ 206 w 246"/>
                    <a:gd name="T45" fmla="*/ 64 h 194"/>
                    <a:gd name="T46" fmla="*/ 196 w 246"/>
                    <a:gd name="T47" fmla="*/ 76 h 194"/>
                    <a:gd name="T48" fmla="*/ 190 w 246"/>
                    <a:gd name="T49" fmla="*/ 72 h 194"/>
                    <a:gd name="T50" fmla="*/ 194 w 246"/>
                    <a:gd name="T51" fmla="*/ 49 h 194"/>
                    <a:gd name="T52" fmla="*/ 188 w 246"/>
                    <a:gd name="T53" fmla="*/ 30 h 194"/>
                    <a:gd name="T54" fmla="*/ 126 w 246"/>
                    <a:gd name="T55" fmla="*/ 15 h 194"/>
                    <a:gd name="T56" fmla="*/ 113 w 246"/>
                    <a:gd name="T57" fmla="*/ 32 h 194"/>
                    <a:gd name="T58" fmla="*/ 58 w 246"/>
                    <a:gd name="T59" fmla="*/ 85 h 194"/>
                    <a:gd name="T60" fmla="*/ 78 w 246"/>
                    <a:gd name="T61" fmla="*/ 93 h 194"/>
                    <a:gd name="T62" fmla="*/ 70 w 246"/>
                    <a:gd name="T63" fmla="*/ 120 h 194"/>
                    <a:gd name="T64" fmla="*/ 121 w 246"/>
                    <a:gd name="T65" fmla="*/ 108 h 194"/>
                    <a:gd name="T66" fmla="*/ 125 w 246"/>
                    <a:gd name="T67" fmla="*/ 80 h 194"/>
                    <a:gd name="T68" fmla="*/ 95 w 246"/>
                    <a:gd name="T69" fmla="*/ 128 h 194"/>
                    <a:gd name="T70" fmla="*/ 60 w 246"/>
                    <a:gd name="T71" fmla="*/ 100 h 194"/>
                    <a:gd name="T72" fmla="*/ 77 w 246"/>
                    <a:gd name="T73" fmla="*/ 49 h 194"/>
                    <a:gd name="T74" fmla="*/ 20 w 246"/>
                    <a:gd name="T75" fmla="*/ 105 h 194"/>
                    <a:gd name="T76" fmla="*/ 33 w 246"/>
                    <a:gd name="T77" fmla="*/ 172 h 194"/>
                    <a:gd name="T78" fmla="*/ 62 w 246"/>
                    <a:gd name="T79" fmla="*/ 181 h 194"/>
                    <a:gd name="T80" fmla="*/ 70 w 246"/>
                    <a:gd name="T81" fmla="*/ 149 h 194"/>
                    <a:gd name="T82" fmla="*/ 87 w 246"/>
                    <a:gd name="T83" fmla="*/ 154 h 194"/>
                    <a:gd name="T84" fmla="*/ 93 w 246"/>
                    <a:gd name="T85" fmla="*/ 162 h 194"/>
                    <a:gd name="T86" fmla="*/ 113 w 246"/>
                    <a:gd name="T87" fmla="*/ 184 h 194"/>
                    <a:gd name="T88" fmla="*/ 150 w 246"/>
                    <a:gd name="T89" fmla="*/ 128 h 194"/>
                    <a:gd name="T90" fmla="*/ 19 w 246"/>
                    <a:gd name="T91" fmla="*/ 133 h 194"/>
                    <a:gd name="T92" fmla="*/ 27 w 246"/>
                    <a:gd name="T93" fmla="*/ 162 h 194"/>
                    <a:gd name="T94" fmla="*/ 153 w 246"/>
                    <a:gd name="T95" fmla="*/ 138 h 194"/>
                    <a:gd name="T96" fmla="*/ 157 w 246"/>
                    <a:gd name="T97" fmla="*/ 168 h 194"/>
                    <a:gd name="T98" fmla="*/ 19 w 246"/>
                    <a:gd name="T99" fmla="*/ 87 h 194"/>
                    <a:gd name="T100" fmla="*/ 8 w 246"/>
                    <a:gd name="T101" fmla="*/ 83 h 194"/>
                    <a:gd name="T102" fmla="*/ 4 w 246"/>
                    <a:gd name="T10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194">
                      <a:moveTo>
                        <a:pt x="153" y="128"/>
                      </a:moveTo>
                      <a:cubicBezTo>
                        <a:pt x="154" y="132"/>
                        <a:pt x="156" y="135"/>
                        <a:pt x="157" y="139"/>
                      </a:cubicBezTo>
                      <a:cubicBezTo>
                        <a:pt x="158" y="143"/>
                        <a:pt x="159" y="148"/>
                        <a:pt x="160" y="152"/>
                      </a:cubicBezTo>
                      <a:cubicBezTo>
                        <a:pt x="160" y="156"/>
                        <a:pt x="161" y="160"/>
                        <a:pt x="161" y="164"/>
                      </a:cubicBezTo>
                      <a:cubicBezTo>
                        <a:pt x="163" y="172"/>
                        <a:pt x="160" y="176"/>
                        <a:pt x="152" y="176"/>
                      </a:cubicBezTo>
                      <a:cubicBezTo>
                        <a:pt x="145" y="176"/>
                        <a:pt x="138" y="175"/>
                        <a:pt x="131" y="175"/>
                      </a:cubicBezTo>
                      <a:cubicBezTo>
                        <a:pt x="130" y="175"/>
                        <a:pt x="128" y="175"/>
                        <a:pt x="127" y="176"/>
                      </a:cubicBezTo>
                      <a:cubicBezTo>
                        <a:pt x="123" y="180"/>
                        <a:pt x="119" y="183"/>
                        <a:pt x="116" y="187"/>
                      </a:cubicBezTo>
                      <a:cubicBezTo>
                        <a:pt x="111" y="193"/>
                        <a:pt x="103" y="194"/>
                        <a:pt x="97" y="189"/>
                      </a:cubicBezTo>
                      <a:cubicBezTo>
                        <a:pt x="92" y="183"/>
                        <a:pt x="89" y="177"/>
                        <a:pt x="85" y="170"/>
                      </a:cubicBezTo>
                      <a:cubicBezTo>
                        <a:pt x="83" y="166"/>
                        <a:pt x="84" y="162"/>
                        <a:pt x="90" y="158"/>
                      </a:cubicBezTo>
                      <a:cubicBezTo>
                        <a:pt x="83" y="158"/>
                        <a:pt x="79" y="158"/>
                        <a:pt x="75" y="158"/>
                      </a:cubicBezTo>
                      <a:cubicBezTo>
                        <a:pt x="73" y="163"/>
                        <a:pt x="70" y="168"/>
                        <a:pt x="68" y="173"/>
                      </a:cubicBezTo>
                      <a:cubicBezTo>
                        <a:pt x="68" y="175"/>
                        <a:pt x="67" y="177"/>
                        <a:pt x="67" y="179"/>
                      </a:cubicBezTo>
                      <a:cubicBezTo>
                        <a:pt x="67" y="187"/>
                        <a:pt x="64" y="190"/>
                        <a:pt x="56" y="189"/>
                      </a:cubicBezTo>
                      <a:cubicBezTo>
                        <a:pt x="48" y="188"/>
                        <a:pt x="41" y="186"/>
                        <a:pt x="33" y="183"/>
                      </a:cubicBezTo>
                      <a:cubicBezTo>
                        <a:pt x="28" y="182"/>
                        <a:pt x="27" y="178"/>
                        <a:pt x="28" y="173"/>
                      </a:cubicBezTo>
                      <a:cubicBezTo>
                        <a:pt x="29" y="171"/>
                        <a:pt x="29" y="169"/>
                        <a:pt x="30" y="169"/>
                      </a:cubicBezTo>
                      <a:cubicBezTo>
                        <a:pt x="24" y="166"/>
                        <a:pt x="18" y="164"/>
                        <a:pt x="13" y="160"/>
                      </a:cubicBezTo>
                      <a:cubicBezTo>
                        <a:pt x="10" y="158"/>
                        <a:pt x="7" y="153"/>
                        <a:pt x="5" y="149"/>
                      </a:cubicBezTo>
                      <a:cubicBezTo>
                        <a:pt x="3" y="144"/>
                        <a:pt x="3" y="140"/>
                        <a:pt x="8" y="136"/>
                      </a:cubicBezTo>
                      <a:cubicBezTo>
                        <a:pt x="16" y="130"/>
                        <a:pt x="18" y="123"/>
                        <a:pt x="16" y="113"/>
                      </a:cubicBezTo>
                      <a:cubicBezTo>
                        <a:pt x="16" y="108"/>
                        <a:pt x="16" y="102"/>
                        <a:pt x="16" y="98"/>
                      </a:cubicBezTo>
                      <a:cubicBezTo>
                        <a:pt x="13" y="96"/>
                        <a:pt x="8" y="95"/>
                        <a:pt x="6" y="92"/>
                      </a:cubicBezTo>
                      <a:cubicBezTo>
                        <a:pt x="3" y="88"/>
                        <a:pt x="1" y="83"/>
                        <a:pt x="1" y="78"/>
                      </a:cubicBezTo>
                      <a:cubicBezTo>
                        <a:pt x="0" y="71"/>
                        <a:pt x="9" y="64"/>
                        <a:pt x="16" y="62"/>
                      </a:cubicBezTo>
                      <a:cubicBezTo>
                        <a:pt x="17" y="64"/>
                        <a:pt x="17" y="66"/>
                        <a:pt x="18" y="68"/>
                      </a:cubicBezTo>
                      <a:cubicBezTo>
                        <a:pt x="18" y="71"/>
                        <a:pt x="18" y="73"/>
                        <a:pt x="19" y="76"/>
                      </a:cubicBezTo>
                      <a:cubicBezTo>
                        <a:pt x="17" y="75"/>
                        <a:pt x="16" y="75"/>
                        <a:pt x="15" y="75"/>
                      </a:cubicBezTo>
                      <a:cubicBezTo>
                        <a:pt x="14" y="78"/>
                        <a:pt x="13" y="81"/>
                        <a:pt x="11" y="86"/>
                      </a:cubicBezTo>
                      <a:cubicBezTo>
                        <a:pt x="14" y="85"/>
                        <a:pt x="16" y="85"/>
                        <a:pt x="17" y="84"/>
                      </a:cubicBezTo>
                      <a:cubicBezTo>
                        <a:pt x="20" y="81"/>
                        <a:pt x="22" y="79"/>
                        <a:pt x="24" y="76"/>
                      </a:cubicBezTo>
                      <a:cubicBezTo>
                        <a:pt x="35" y="59"/>
                        <a:pt x="50" y="49"/>
                        <a:pt x="70" y="45"/>
                      </a:cubicBezTo>
                      <a:cubicBezTo>
                        <a:pt x="78" y="44"/>
                        <a:pt x="86" y="41"/>
                        <a:pt x="92" y="34"/>
                      </a:cubicBezTo>
                      <a:cubicBezTo>
                        <a:pt x="92" y="33"/>
                        <a:pt x="94" y="32"/>
                        <a:pt x="95" y="32"/>
                      </a:cubicBezTo>
                      <a:cubicBezTo>
                        <a:pt x="102" y="31"/>
                        <a:pt x="106" y="25"/>
                        <a:pt x="111" y="20"/>
                      </a:cubicBezTo>
                      <a:cubicBezTo>
                        <a:pt x="130" y="1"/>
                        <a:pt x="160" y="0"/>
                        <a:pt x="180" y="17"/>
                      </a:cubicBezTo>
                      <a:cubicBezTo>
                        <a:pt x="186" y="22"/>
                        <a:pt x="193" y="27"/>
                        <a:pt x="199" y="32"/>
                      </a:cubicBezTo>
                      <a:cubicBezTo>
                        <a:pt x="203" y="35"/>
                        <a:pt x="206" y="39"/>
                        <a:pt x="209" y="44"/>
                      </a:cubicBezTo>
                      <a:cubicBezTo>
                        <a:pt x="211" y="48"/>
                        <a:pt x="213" y="48"/>
                        <a:pt x="216" y="45"/>
                      </a:cubicBezTo>
                      <a:cubicBezTo>
                        <a:pt x="218" y="44"/>
                        <a:pt x="220" y="42"/>
                        <a:pt x="222" y="40"/>
                      </a:cubicBezTo>
                      <a:cubicBezTo>
                        <a:pt x="227" y="33"/>
                        <a:pt x="235" y="33"/>
                        <a:pt x="238" y="41"/>
                      </a:cubicBezTo>
                      <a:cubicBezTo>
                        <a:pt x="241" y="49"/>
                        <a:pt x="243" y="56"/>
                        <a:pt x="244" y="64"/>
                      </a:cubicBezTo>
                      <a:cubicBezTo>
                        <a:pt x="246" y="75"/>
                        <a:pt x="245" y="86"/>
                        <a:pt x="241" y="97"/>
                      </a:cubicBezTo>
                      <a:cubicBezTo>
                        <a:pt x="235" y="113"/>
                        <a:pt x="223" y="122"/>
                        <a:pt x="206" y="122"/>
                      </a:cubicBezTo>
                      <a:cubicBezTo>
                        <a:pt x="204" y="122"/>
                        <a:pt x="203" y="122"/>
                        <a:pt x="201" y="122"/>
                      </a:cubicBezTo>
                      <a:cubicBezTo>
                        <a:pt x="195" y="121"/>
                        <a:pt x="192" y="122"/>
                        <a:pt x="190" y="128"/>
                      </a:cubicBezTo>
                      <a:cubicBezTo>
                        <a:pt x="186" y="139"/>
                        <a:pt x="172" y="143"/>
                        <a:pt x="163" y="135"/>
                      </a:cubicBezTo>
                      <a:cubicBezTo>
                        <a:pt x="160" y="132"/>
                        <a:pt x="158" y="130"/>
                        <a:pt x="155" y="127"/>
                      </a:cubicBezTo>
                      <a:cubicBezTo>
                        <a:pt x="154" y="128"/>
                        <a:pt x="154" y="128"/>
                        <a:pt x="153" y="128"/>
                      </a:cubicBezTo>
                      <a:close/>
                      <a:moveTo>
                        <a:pt x="139" y="117"/>
                      </a:moveTo>
                      <a:cubicBezTo>
                        <a:pt x="148" y="121"/>
                        <a:pt x="157" y="124"/>
                        <a:pt x="164" y="131"/>
                      </a:cubicBezTo>
                      <a:cubicBezTo>
                        <a:pt x="168" y="135"/>
                        <a:pt x="173" y="137"/>
                        <a:pt x="178" y="135"/>
                      </a:cubicBezTo>
                      <a:cubicBezTo>
                        <a:pt x="185" y="133"/>
                        <a:pt x="189" y="128"/>
                        <a:pt x="189" y="120"/>
                      </a:cubicBezTo>
                      <a:cubicBezTo>
                        <a:pt x="188" y="121"/>
                        <a:pt x="186" y="121"/>
                        <a:pt x="186" y="122"/>
                      </a:cubicBezTo>
                      <a:cubicBezTo>
                        <a:pt x="185" y="126"/>
                        <a:pt x="182" y="128"/>
                        <a:pt x="180" y="131"/>
                      </a:cubicBezTo>
                      <a:cubicBezTo>
                        <a:pt x="177" y="134"/>
                        <a:pt x="174" y="133"/>
                        <a:pt x="172" y="132"/>
                      </a:cubicBezTo>
                      <a:cubicBezTo>
                        <a:pt x="170" y="132"/>
                        <a:pt x="169" y="129"/>
                        <a:pt x="169" y="127"/>
                      </a:cubicBezTo>
                      <a:cubicBezTo>
                        <a:pt x="169" y="121"/>
                        <a:pt x="170" y="116"/>
                        <a:pt x="171" y="111"/>
                      </a:cubicBezTo>
                      <a:cubicBezTo>
                        <a:pt x="179" y="113"/>
                        <a:pt x="187" y="116"/>
                        <a:pt x="196" y="117"/>
                      </a:cubicBezTo>
                      <a:cubicBezTo>
                        <a:pt x="215" y="120"/>
                        <a:pt x="230" y="116"/>
                        <a:pt x="238" y="94"/>
                      </a:cubicBezTo>
                      <a:cubicBezTo>
                        <a:pt x="242" y="82"/>
                        <a:pt x="241" y="70"/>
                        <a:pt x="239" y="57"/>
                      </a:cubicBezTo>
                      <a:cubicBezTo>
                        <a:pt x="238" y="52"/>
                        <a:pt x="236" y="48"/>
                        <a:pt x="234" y="43"/>
                      </a:cubicBezTo>
                      <a:cubicBezTo>
                        <a:pt x="232" y="39"/>
                        <a:pt x="229" y="38"/>
                        <a:pt x="226" y="42"/>
                      </a:cubicBezTo>
                      <a:cubicBezTo>
                        <a:pt x="222" y="46"/>
                        <a:pt x="218" y="50"/>
                        <a:pt x="213" y="52"/>
                      </a:cubicBezTo>
                      <a:cubicBezTo>
                        <a:pt x="211" y="53"/>
                        <a:pt x="209" y="55"/>
                        <a:pt x="210" y="58"/>
                      </a:cubicBezTo>
                      <a:cubicBezTo>
                        <a:pt x="212" y="66"/>
                        <a:pt x="210" y="74"/>
                        <a:pt x="207" y="82"/>
                      </a:cubicBezTo>
                      <a:cubicBezTo>
                        <a:pt x="207" y="77"/>
                        <a:pt x="208" y="72"/>
                        <a:pt x="208" y="68"/>
                      </a:cubicBezTo>
                      <a:cubicBezTo>
                        <a:pt x="208" y="66"/>
                        <a:pt x="207" y="65"/>
                        <a:pt x="206" y="64"/>
                      </a:cubicBezTo>
                      <a:cubicBezTo>
                        <a:pt x="205" y="65"/>
                        <a:pt x="203" y="65"/>
                        <a:pt x="203" y="66"/>
                      </a:cubicBezTo>
                      <a:cubicBezTo>
                        <a:pt x="201" y="69"/>
                        <a:pt x="199" y="73"/>
                        <a:pt x="197" y="76"/>
                      </a:cubicBezTo>
                      <a:cubicBezTo>
                        <a:pt x="196" y="76"/>
                        <a:pt x="196" y="76"/>
                        <a:pt x="196" y="76"/>
                      </a:cubicBezTo>
                      <a:cubicBezTo>
                        <a:pt x="197" y="72"/>
                        <a:pt x="198" y="68"/>
                        <a:pt x="199" y="62"/>
                      </a:cubicBezTo>
                      <a:cubicBezTo>
                        <a:pt x="196" y="64"/>
                        <a:pt x="195" y="65"/>
                        <a:pt x="193" y="67"/>
                      </a:cubicBezTo>
                      <a:cubicBezTo>
                        <a:pt x="192" y="68"/>
                        <a:pt x="191" y="70"/>
                        <a:pt x="190" y="72"/>
                      </a:cubicBezTo>
                      <a:cubicBezTo>
                        <a:pt x="191" y="63"/>
                        <a:pt x="192" y="63"/>
                        <a:pt x="207" y="60"/>
                      </a:cubicBezTo>
                      <a:cubicBezTo>
                        <a:pt x="206" y="59"/>
                        <a:pt x="204" y="57"/>
                        <a:pt x="204" y="57"/>
                      </a:cubicBezTo>
                      <a:cubicBezTo>
                        <a:pt x="197" y="59"/>
                        <a:pt x="195" y="55"/>
                        <a:pt x="194" y="49"/>
                      </a:cubicBezTo>
                      <a:cubicBezTo>
                        <a:pt x="198" y="48"/>
                        <a:pt x="202" y="47"/>
                        <a:pt x="206" y="46"/>
                      </a:cubicBezTo>
                      <a:cubicBezTo>
                        <a:pt x="202" y="40"/>
                        <a:pt x="198" y="33"/>
                        <a:pt x="190" y="32"/>
                      </a:cubicBezTo>
                      <a:cubicBezTo>
                        <a:pt x="189" y="32"/>
                        <a:pt x="188" y="31"/>
                        <a:pt x="188" y="30"/>
                      </a:cubicBezTo>
                      <a:cubicBezTo>
                        <a:pt x="182" y="25"/>
                        <a:pt x="176" y="19"/>
                        <a:pt x="169" y="14"/>
                      </a:cubicBezTo>
                      <a:cubicBezTo>
                        <a:pt x="163" y="11"/>
                        <a:pt x="156" y="9"/>
                        <a:pt x="150" y="9"/>
                      </a:cubicBezTo>
                      <a:cubicBezTo>
                        <a:pt x="142" y="10"/>
                        <a:pt x="134" y="13"/>
                        <a:pt x="126" y="15"/>
                      </a:cubicBezTo>
                      <a:cubicBezTo>
                        <a:pt x="119" y="18"/>
                        <a:pt x="112" y="22"/>
                        <a:pt x="108" y="30"/>
                      </a:cubicBezTo>
                      <a:cubicBezTo>
                        <a:pt x="112" y="30"/>
                        <a:pt x="115" y="30"/>
                        <a:pt x="118" y="30"/>
                      </a:cubicBezTo>
                      <a:cubicBezTo>
                        <a:pt x="117" y="31"/>
                        <a:pt x="115" y="32"/>
                        <a:pt x="113" y="32"/>
                      </a:cubicBezTo>
                      <a:cubicBezTo>
                        <a:pt x="107" y="34"/>
                        <a:pt x="100" y="32"/>
                        <a:pt x="95" y="38"/>
                      </a:cubicBezTo>
                      <a:cubicBezTo>
                        <a:pt x="86" y="48"/>
                        <a:pt x="76" y="57"/>
                        <a:pt x="67" y="68"/>
                      </a:cubicBezTo>
                      <a:cubicBezTo>
                        <a:pt x="63" y="73"/>
                        <a:pt x="61" y="79"/>
                        <a:pt x="58" y="85"/>
                      </a:cubicBezTo>
                      <a:cubicBezTo>
                        <a:pt x="58" y="86"/>
                        <a:pt x="58" y="88"/>
                        <a:pt x="59" y="89"/>
                      </a:cubicBezTo>
                      <a:cubicBezTo>
                        <a:pt x="62" y="94"/>
                        <a:pt x="65" y="99"/>
                        <a:pt x="69" y="104"/>
                      </a:cubicBezTo>
                      <a:cubicBezTo>
                        <a:pt x="72" y="100"/>
                        <a:pt x="75" y="96"/>
                        <a:pt x="78" y="93"/>
                      </a:cubicBezTo>
                      <a:cubicBezTo>
                        <a:pt x="77" y="96"/>
                        <a:pt x="76" y="99"/>
                        <a:pt x="74" y="103"/>
                      </a:cubicBezTo>
                      <a:cubicBezTo>
                        <a:pt x="72" y="106"/>
                        <a:pt x="70" y="109"/>
                        <a:pt x="69" y="113"/>
                      </a:cubicBezTo>
                      <a:cubicBezTo>
                        <a:pt x="68" y="115"/>
                        <a:pt x="69" y="118"/>
                        <a:pt x="70" y="120"/>
                      </a:cubicBezTo>
                      <a:cubicBezTo>
                        <a:pt x="76" y="129"/>
                        <a:pt x="84" y="129"/>
                        <a:pt x="94" y="124"/>
                      </a:cubicBezTo>
                      <a:cubicBezTo>
                        <a:pt x="100" y="120"/>
                        <a:pt x="107" y="117"/>
                        <a:pt x="114" y="115"/>
                      </a:cubicBezTo>
                      <a:cubicBezTo>
                        <a:pt x="118" y="114"/>
                        <a:pt x="121" y="112"/>
                        <a:pt x="121" y="108"/>
                      </a:cubicBezTo>
                      <a:cubicBezTo>
                        <a:pt x="121" y="100"/>
                        <a:pt x="121" y="91"/>
                        <a:pt x="121" y="83"/>
                      </a:cubicBezTo>
                      <a:cubicBezTo>
                        <a:pt x="121" y="75"/>
                        <a:pt x="121" y="68"/>
                        <a:pt x="121" y="60"/>
                      </a:cubicBezTo>
                      <a:cubicBezTo>
                        <a:pt x="123" y="67"/>
                        <a:pt x="124" y="74"/>
                        <a:pt x="125" y="80"/>
                      </a:cubicBezTo>
                      <a:cubicBezTo>
                        <a:pt x="127" y="92"/>
                        <a:pt x="128" y="103"/>
                        <a:pt x="124" y="114"/>
                      </a:cubicBezTo>
                      <a:cubicBezTo>
                        <a:pt x="123" y="116"/>
                        <a:pt x="121" y="118"/>
                        <a:pt x="120" y="118"/>
                      </a:cubicBezTo>
                      <a:cubicBezTo>
                        <a:pt x="111" y="119"/>
                        <a:pt x="103" y="124"/>
                        <a:pt x="95" y="128"/>
                      </a:cubicBezTo>
                      <a:cubicBezTo>
                        <a:pt x="82" y="136"/>
                        <a:pt x="73" y="131"/>
                        <a:pt x="64" y="121"/>
                      </a:cubicBezTo>
                      <a:cubicBezTo>
                        <a:pt x="63" y="120"/>
                        <a:pt x="63" y="117"/>
                        <a:pt x="64" y="116"/>
                      </a:cubicBezTo>
                      <a:cubicBezTo>
                        <a:pt x="67" y="110"/>
                        <a:pt x="64" y="105"/>
                        <a:pt x="60" y="100"/>
                      </a:cubicBezTo>
                      <a:cubicBezTo>
                        <a:pt x="56" y="95"/>
                        <a:pt x="52" y="89"/>
                        <a:pt x="55" y="82"/>
                      </a:cubicBezTo>
                      <a:cubicBezTo>
                        <a:pt x="56" y="77"/>
                        <a:pt x="59" y="73"/>
                        <a:pt x="62" y="69"/>
                      </a:cubicBezTo>
                      <a:cubicBezTo>
                        <a:pt x="66" y="62"/>
                        <a:pt x="72" y="56"/>
                        <a:pt x="77" y="49"/>
                      </a:cubicBezTo>
                      <a:cubicBezTo>
                        <a:pt x="76" y="49"/>
                        <a:pt x="74" y="49"/>
                        <a:pt x="74" y="49"/>
                      </a:cubicBezTo>
                      <a:cubicBezTo>
                        <a:pt x="61" y="52"/>
                        <a:pt x="50" y="56"/>
                        <a:pt x="40" y="64"/>
                      </a:cubicBezTo>
                      <a:cubicBezTo>
                        <a:pt x="28" y="75"/>
                        <a:pt x="21" y="88"/>
                        <a:pt x="20" y="105"/>
                      </a:cubicBezTo>
                      <a:cubicBezTo>
                        <a:pt x="19" y="122"/>
                        <a:pt x="25" y="137"/>
                        <a:pt x="34" y="152"/>
                      </a:cubicBezTo>
                      <a:cubicBezTo>
                        <a:pt x="35" y="154"/>
                        <a:pt x="37" y="158"/>
                        <a:pt x="36" y="161"/>
                      </a:cubicBezTo>
                      <a:cubicBezTo>
                        <a:pt x="36" y="165"/>
                        <a:pt x="35" y="169"/>
                        <a:pt x="33" y="172"/>
                      </a:cubicBezTo>
                      <a:cubicBezTo>
                        <a:pt x="32" y="177"/>
                        <a:pt x="33" y="179"/>
                        <a:pt x="36" y="180"/>
                      </a:cubicBezTo>
                      <a:cubicBezTo>
                        <a:pt x="44" y="182"/>
                        <a:pt x="51" y="183"/>
                        <a:pt x="58" y="184"/>
                      </a:cubicBezTo>
                      <a:cubicBezTo>
                        <a:pt x="60" y="184"/>
                        <a:pt x="62" y="182"/>
                        <a:pt x="62" y="181"/>
                      </a:cubicBezTo>
                      <a:cubicBezTo>
                        <a:pt x="63" y="178"/>
                        <a:pt x="63" y="174"/>
                        <a:pt x="65" y="172"/>
                      </a:cubicBezTo>
                      <a:cubicBezTo>
                        <a:pt x="70" y="166"/>
                        <a:pt x="70" y="159"/>
                        <a:pt x="70" y="152"/>
                      </a:cubicBezTo>
                      <a:cubicBezTo>
                        <a:pt x="70" y="151"/>
                        <a:pt x="70" y="150"/>
                        <a:pt x="70" y="149"/>
                      </a:cubicBezTo>
                      <a:cubicBezTo>
                        <a:pt x="70" y="148"/>
                        <a:pt x="70" y="148"/>
                        <a:pt x="70" y="147"/>
                      </a:cubicBezTo>
                      <a:cubicBezTo>
                        <a:pt x="71" y="154"/>
                        <a:pt x="75" y="154"/>
                        <a:pt x="80" y="154"/>
                      </a:cubicBezTo>
                      <a:cubicBezTo>
                        <a:pt x="82" y="154"/>
                        <a:pt x="85" y="154"/>
                        <a:pt x="87" y="154"/>
                      </a:cubicBezTo>
                      <a:cubicBezTo>
                        <a:pt x="93" y="154"/>
                        <a:pt x="101" y="156"/>
                        <a:pt x="103" y="145"/>
                      </a:cubicBezTo>
                      <a:cubicBezTo>
                        <a:pt x="103" y="151"/>
                        <a:pt x="103" y="155"/>
                        <a:pt x="103" y="157"/>
                      </a:cubicBezTo>
                      <a:cubicBezTo>
                        <a:pt x="99" y="159"/>
                        <a:pt x="96" y="161"/>
                        <a:pt x="93" y="162"/>
                      </a:cubicBezTo>
                      <a:cubicBezTo>
                        <a:pt x="89" y="164"/>
                        <a:pt x="88" y="168"/>
                        <a:pt x="90" y="170"/>
                      </a:cubicBezTo>
                      <a:cubicBezTo>
                        <a:pt x="93" y="176"/>
                        <a:pt x="96" y="181"/>
                        <a:pt x="100" y="186"/>
                      </a:cubicBezTo>
                      <a:cubicBezTo>
                        <a:pt x="104" y="189"/>
                        <a:pt x="109" y="188"/>
                        <a:pt x="113" y="184"/>
                      </a:cubicBezTo>
                      <a:cubicBezTo>
                        <a:pt x="114" y="182"/>
                        <a:pt x="116" y="180"/>
                        <a:pt x="118" y="179"/>
                      </a:cubicBezTo>
                      <a:cubicBezTo>
                        <a:pt x="122" y="175"/>
                        <a:pt x="126" y="172"/>
                        <a:pt x="130" y="169"/>
                      </a:cubicBezTo>
                      <a:cubicBezTo>
                        <a:pt x="141" y="158"/>
                        <a:pt x="146" y="143"/>
                        <a:pt x="150" y="128"/>
                      </a:cubicBezTo>
                      <a:cubicBezTo>
                        <a:pt x="150" y="127"/>
                        <a:pt x="148" y="125"/>
                        <a:pt x="147" y="124"/>
                      </a:cubicBezTo>
                      <a:cubicBezTo>
                        <a:pt x="145" y="121"/>
                        <a:pt x="142" y="119"/>
                        <a:pt x="139" y="117"/>
                      </a:cubicBezTo>
                      <a:close/>
                      <a:moveTo>
                        <a:pt x="19" y="133"/>
                      </a:moveTo>
                      <a:cubicBezTo>
                        <a:pt x="17" y="135"/>
                        <a:pt x="13" y="137"/>
                        <a:pt x="10" y="140"/>
                      </a:cubicBezTo>
                      <a:cubicBezTo>
                        <a:pt x="9" y="141"/>
                        <a:pt x="8" y="143"/>
                        <a:pt x="8" y="145"/>
                      </a:cubicBezTo>
                      <a:cubicBezTo>
                        <a:pt x="8" y="152"/>
                        <a:pt x="19" y="163"/>
                        <a:pt x="27" y="162"/>
                      </a:cubicBezTo>
                      <a:cubicBezTo>
                        <a:pt x="31" y="162"/>
                        <a:pt x="33" y="159"/>
                        <a:pt x="31" y="155"/>
                      </a:cubicBezTo>
                      <a:cubicBezTo>
                        <a:pt x="27" y="147"/>
                        <a:pt x="23" y="140"/>
                        <a:pt x="19" y="133"/>
                      </a:cubicBezTo>
                      <a:close/>
                      <a:moveTo>
                        <a:pt x="153" y="138"/>
                      </a:moveTo>
                      <a:cubicBezTo>
                        <a:pt x="147" y="150"/>
                        <a:pt x="141" y="161"/>
                        <a:pt x="135" y="172"/>
                      </a:cubicBezTo>
                      <a:cubicBezTo>
                        <a:pt x="142" y="172"/>
                        <a:pt x="148" y="173"/>
                        <a:pt x="155" y="172"/>
                      </a:cubicBezTo>
                      <a:cubicBezTo>
                        <a:pt x="156" y="172"/>
                        <a:pt x="157" y="169"/>
                        <a:pt x="157" y="168"/>
                      </a:cubicBezTo>
                      <a:cubicBezTo>
                        <a:pt x="157" y="161"/>
                        <a:pt x="157" y="155"/>
                        <a:pt x="156" y="149"/>
                      </a:cubicBezTo>
                      <a:cubicBezTo>
                        <a:pt x="155" y="145"/>
                        <a:pt x="154" y="142"/>
                        <a:pt x="153" y="138"/>
                      </a:cubicBezTo>
                      <a:close/>
                      <a:moveTo>
                        <a:pt x="19" y="87"/>
                      </a:moveTo>
                      <a:cubicBezTo>
                        <a:pt x="17" y="88"/>
                        <a:pt x="15" y="89"/>
                        <a:pt x="14" y="89"/>
                      </a:cubicBezTo>
                      <a:cubicBezTo>
                        <a:pt x="12" y="89"/>
                        <a:pt x="10" y="89"/>
                        <a:pt x="10" y="88"/>
                      </a:cubicBezTo>
                      <a:cubicBezTo>
                        <a:pt x="9" y="87"/>
                        <a:pt x="8" y="85"/>
                        <a:pt x="8" y="83"/>
                      </a:cubicBezTo>
                      <a:cubicBezTo>
                        <a:pt x="10" y="78"/>
                        <a:pt x="11" y="73"/>
                        <a:pt x="13" y="68"/>
                      </a:cubicBezTo>
                      <a:cubicBezTo>
                        <a:pt x="12" y="68"/>
                        <a:pt x="12" y="68"/>
                        <a:pt x="11" y="68"/>
                      </a:cubicBezTo>
                      <a:cubicBezTo>
                        <a:pt x="9" y="70"/>
                        <a:pt x="6" y="72"/>
                        <a:pt x="4" y="75"/>
                      </a:cubicBezTo>
                      <a:cubicBezTo>
                        <a:pt x="2" y="78"/>
                        <a:pt x="6" y="91"/>
                        <a:pt x="10" y="93"/>
                      </a:cubicBezTo>
                      <a:cubicBezTo>
                        <a:pt x="14" y="95"/>
                        <a:pt x="19" y="92"/>
                        <a:pt x="19"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000000"/>
                    </a:solidFill>
                    <a:ea typeface="MS PGothic" charset="0"/>
                  </a:endParaRPr>
                </a:p>
              </p:txBody>
            </p:sp>
            <p:sp>
              <p:nvSpPr>
                <p:cNvPr id="79" name="Freeform 11"/>
                <p:cNvSpPr>
                  <a:spLocks noEditPoints="1"/>
                </p:cNvSpPr>
                <p:nvPr/>
              </p:nvSpPr>
              <p:spPr bwMode="auto">
                <a:xfrm>
                  <a:off x="3338194" y="6331622"/>
                  <a:ext cx="61945" cy="45146"/>
                </a:xfrm>
                <a:custGeom>
                  <a:avLst/>
                  <a:gdLst>
                    <a:gd name="T0" fmla="*/ 0 w 25"/>
                    <a:gd name="T1" fmla="*/ 12 h 18"/>
                    <a:gd name="T2" fmla="*/ 18 w 25"/>
                    <a:gd name="T3" fmla="*/ 0 h 18"/>
                    <a:gd name="T4" fmla="*/ 25 w 25"/>
                    <a:gd name="T5" fmla="*/ 8 h 18"/>
                    <a:gd name="T6" fmla="*/ 9 w 25"/>
                    <a:gd name="T7" fmla="*/ 18 h 18"/>
                    <a:gd name="T8" fmla="*/ 4 w 25"/>
                    <a:gd name="T9" fmla="*/ 11 h 18"/>
                    <a:gd name="T10" fmla="*/ 0 w 25"/>
                    <a:gd name="T11" fmla="*/ 12 h 18"/>
                    <a:gd name="T12" fmla="*/ 15 w 25"/>
                    <a:gd name="T13" fmla="*/ 11 h 18"/>
                    <a:gd name="T14" fmla="*/ 10 w 25"/>
                    <a:gd name="T15" fmla="*/ 9 h 18"/>
                    <a:gd name="T16" fmla="*/ 7 w 25"/>
                    <a:gd name="T17" fmla="*/ 12 h 18"/>
                    <a:gd name="T18" fmla="*/ 9 w 25"/>
                    <a:gd name="T19" fmla="*/ 15 h 18"/>
                    <a:gd name="T20" fmla="*/ 15 w 25"/>
                    <a:gd name="T21"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8">
                      <a:moveTo>
                        <a:pt x="0" y="12"/>
                      </a:moveTo>
                      <a:cubicBezTo>
                        <a:pt x="8" y="3"/>
                        <a:pt x="8" y="3"/>
                        <a:pt x="18" y="0"/>
                      </a:cubicBezTo>
                      <a:cubicBezTo>
                        <a:pt x="18" y="5"/>
                        <a:pt x="21" y="8"/>
                        <a:pt x="25" y="8"/>
                      </a:cubicBezTo>
                      <a:cubicBezTo>
                        <a:pt x="19" y="11"/>
                        <a:pt x="14" y="15"/>
                        <a:pt x="9" y="18"/>
                      </a:cubicBezTo>
                      <a:cubicBezTo>
                        <a:pt x="7" y="16"/>
                        <a:pt x="6" y="14"/>
                        <a:pt x="4" y="11"/>
                      </a:cubicBezTo>
                      <a:cubicBezTo>
                        <a:pt x="3" y="11"/>
                        <a:pt x="2" y="11"/>
                        <a:pt x="0" y="12"/>
                      </a:cubicBezTo>
                      <a:close/>
                      <a:moveTo>
                        <a:pt x="15" y="11"/>
                      </a:moveTo>
                      <a:cubicBezTo>
                        <a:pt x="13" y="10"/>
                        <a:pt x="11" y="9"/>
                        <a:pt x="10" y="9"/>
                      </a:cubicBezTo>
                      <a:cubicBezTo>
                        <a:pt x="9" y="9"/>
                        <a:pt x="7" y="11"/>
                        <a:pt x="7" y="12"/>
                      </a:cubicBezTo>
                      <a:cubicBezTo>
                        <a:pt x="7" y="13"/>
                        <a:pt x="8" y="14"/>
                        <a:pt x="9" y="15"/>
                      </a:cubicBezTo>
                      <a:cubicBezTo>
                        <a:pt x="11" y="14"/>
                        <a:pt x="12" y="13"/>
                        <a:pt x="15"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000000"/>
                    </a:solidFill>
                    <a:ea typeface="MS PGothic" charset="0"/>
                  </a:endParaRPr>
                </a:p>
              </p:txBody>
            </p:sp>
            <p:sp>
              <p:nvSpPr>
                <p:cNvPr id="80" name="Freeform 12"/>
                <p:cNvSpPr>
                  <a:spLocks/>
                </p:cNvSpPr>
                <p:nvPr/>
              </p:nvSpPr>
              <p:spPr bwMode="auto">
                <a:xfrm>
                  <a:off x="3189108" y="6293825"/>
                  <a:ext cx="67194" cy="65094"/>
                </a:xfrm>
                <a:custGeom>
                  <a:avLst/>
                  <a:gdLst>
                    <a:gd name="T0" fmla="*/ 27 w 27"/>
                    <a:gd name="T1" fmla="*/ 2 h 26"/>
                    <a:gd name="T2" fmla="*/ 11 w 27"/>
                    <a:gd name="T3" fmla="*/ 16 h 26"/>
                    <a:gd name="T4" fmla="*/ 10 w 27"/>
                    <a:gd name="T5" fmla="*/ 9 h 26"/>
                    <a:gd name="T6" fmla="*/ 9 w 27"/>
                    <a:gd name="T7" fmla="*/ 9 h 26"/>
                    <a:gd name="T8" fmla="*/ 0 w 27"/>
                    <a:gd name="T9" fmla="*/ 26 h 26"/>
                    <a:gd name="T10" fmla="*/ 27 w 27"/>
                    <a:gd name="T11" fmla="*/ 2 h 26"/>
                  </a:gdLst>
                  <a:ahLst/>
                  <a:cxnLst>
                    <a:cxn ang="0">
                      <a:pos x="T0" y="T1"/>
                    </a:cxn>
                    <a:cxn ang="0">
                      <a:pos x="T2" y="T3"/>
                    </a:cxn>
                    <a:cxn ang="0">
                      <a:pos x="T4" y="T5"/>
                    </a:cxn>
                    <a:cxn ang="0">
                      <a:pos x="T6" y="T7"/>
                    </a:cxn>
                    <a:cxn ang="0">
                      <a:pos x="T8" y="T9"/>
                    </a:cxn>
                    <a:cxn ang="0">
                      <a:pos x="T10" y="T11"/>
                    </a:cxn>
                  </a:cxnLst>
                  <a:rect l="0" t="0" r="r" b="b"/>
                  <a:pathLst>
                    <a:path w="27" h="26">
                      <a:moveTo>
                        <a:pt x="27" y="2"/>
                      </a:moveTo>
                      <a:cubicBezTo>
                        <a:pt x="18" y="3"/>
                        <a:pt x="14" y="8"/>
                        <a:pt x="11" y="16"/>
                      </a:cubicBezTo>
                      <a:cubicBezTo>
                        <a:pt x="11" y="14"/>
                        <a:pt x="10" y="12"/>
                        <a:pt x="10" y="9"/>
                      </a:cubicBezTo>
                      <a:cubicBezTo>
                        <a:pt x="10" y="9"/>
                        <a:pt x="9" y="9"/>
                        <a:pt x="9" y="9"/>
                      </a:cubicBezTo>
                      <a:cubicBezTo>
                        <a:pt x="6" y="15"/>
                        <a:pt x="3" y="21"/>
                        <a:pt x="0" y="26"/>
                      </a:cubicBezTo>
                      <a:cubicBezTo>
                        <a:pt x="3" y="6"/>
                        <a:pt x="10" y="0"/>
                        <a:pt x="2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000000"/>
                    </a:solidFill>
                    <a:ea typeface="MS PGothic" charset="0"/>
                  </a:endParaRPr>
                </a:p>
              </p:txBody>
            </p:sp>
            <p:sp>
              <p:nvSpPr>
                <p:cNvPr id="81" name="Freeform 13"/>
                <p:cNvSpPr>
                  <a:spLocks/>
                </p:cNvSpPr>
                <p:nvPr/>
              </p:nvSpPr>
              <p:spPr bwMode="auto">
                <a:xfrm>
                  <a:off x="3497780" y="6308524"/>
                  <a:ext cx="34647" cy="28348"/>
                </a:xfrm>
                <a:custGeom>
                  <a:avLst/>
                  <a:gdLst>
                    <a:gd name="T0" fmla="*/ 14 w 14"/>
                    <a:gd name="T1" fmla="*/ 0 h 11"/>
                    <a:gd name="T2" fmla="*/ 0 w 14"/>
                    <a:gd name="T3" fmla="*/ 10 h 11"/>
                    <a:gd name="T4" fmla="*/ 14 w 14"/>
                    <a:gd name="T5" fmla="*/ 0 h 11"/>
                  </a:gdLst>
                  <a:ahLst/>
                  <a:cxnLst>
                    <a:cxn ang="0">
                      <a:pos x="T0" y="T1"/>
                    </a:cxn>
                    <a:cxn ang="0">
                      <a:pos x="T2" y="T3"/>
                    </a:cxn>
                    <a:cxn ang="0">
                      <a:pos x="T4" y="T5"/>
                    </a:cxn>
                  </a:cxnLst>
                  <a:rect l="0" t="0" r="r" b="b"/>
                  <a:pathLst>
                    <a:path w="14" h="11">
                      <a:moveTo>
                        <a:pt x="14" y="0"/>
                      </a:moveTo>
                      <a:cubicBezTo>
                        <a:pt x="11" y="7"/>
                        <a:pt x="5" y="11"/>
                        <a:pt x="0" y="10"/>
                      </a:cubicBezTo>
                      <a:cubicBezTo>
                        <a:pt x="4" y="7"/>
                        <a:pt x="9" y="3"/>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000000"/>
                    </a:solidFill>
                    <a:ea typeface="MS PGothic" charset="0"/>
                  </a:endParaRPr>
                </a:p>
              </p:txBody>
            </p:sp>
            <p:sp>
              <p:nvSpPr>
                <p:cNvPr id="82" name="Freeform 14"/>
                <p:cNvSpPr>
                  <a:spLocks/>
                </p:cNvSpPr>
                <p:nvPr/>
              </p:nvSpPr>
              <p:spPr bwMode="auto">
                <a:xfrm>
                  <a:off x="3318246" y="6296973"/>
                  <a:ext cx="25198" cy="24148"/>
                </a:xfrm>
                <a:custGeom>
                  <a:avLst/>
                  <a:gdLst>
                    <a:gd name="T0" fmla="*/ 1 w 10"/>
                    <a:gd name="T1" fmla="*/ 10 h 10"/>
                    <a:gd name="T2" fmla="*/ 10 w 10"/>
                    <a:gd name="T3" fmla="*/ 0 h 10"/>
                    <a:gd name="T4" fmla="*/ 1 w 10"/>
                    <a:gd name="T5" fmla="*/ 10 h 10"/>
                  </a:gdLst>
                  <a:ahLst/>
                  <a:cxnLst>
                    <a:cxn ang="0">
                      <a:pos x="T0" y="T1"/>
                    </a:cxn>
                    <a:cxn ang="0">
                      <a:pos x="T2" y="T3"/>
                    </a:cxn>
                    <a:cxn ang="0">
                      <a:pos x="T4" y="T5"/>
                    </a:cxn>
                  </a:cxnLst>
                  <a:rect l="0" t="0" r="r" b="b"/>
                  <a:pathLst>
                    <a:path w="10" h="10">
                      <a:moveTo>
                        <a:pt x="1" y="10"/>
                      </a:moveTo>
                      <a:cubicBezTo>
                        <a:pt x="0" y="5"/>
                        <a:pt x="2" y="3"/>
                        <a:pt x="10" y="0"/>
                      </a:cubicBezTo>
                      <a:cubicBezTo>
                        <a:pt x="7" y="3"/>
                        <a:pt x="4" y="7"/>
                        <a:pt x="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000000"/>
                    </a:solidFill>
                    <a:ea typeface="MS PGothic" charset="0"/>
                  </a:endParaRPr>
                </a:p>
              </p:txBody>
            </p:sp>
            <p:sp>
              <p:nvSpPr>
                <p:cNvPr id="83" name="Freeform 15"/>
                <p:cNvSpPr>
                  <a:spLocks/>
                </p:cNvSpPr>
                <p:nvPr/>
              </p:nvSpPr>
              <p:spPr bwMode="auto">
                <a:xfrm>
                  <a:off x="3367598" y="6456571"/>
                  <a:ext cx="15749" cy="12599"/>
                </a:xfrm>
                <a:custGeom>
                  <a:avLst/>
                  <a:gdLst>
                    <a:gd name="T0" fmla="*/ 6 w 6"/>
                    <a:gd name="T1" fmla="*/ 0 h 5"/>
                    <a:gd name="T2" fmla="*/ 0 w 6"/>
                    <a:gd name="T3" fmla="*/ 5 h 5"/>
                    <a:gd name="T4" fmla="*/ 6 w 6"/>
                    <a:gd name="T5" fmla="*/ 0 h 5"/>
                  </a:gdLst>
                  <a:ahLst/>
                  <a:cxnLst>
                    <a:cxn ang="0">
                      <a:pos x="T0" y="T1"/>
                    </a:cxn>
                    <a:cxn ang="0">
                      <a:pos x="T2" y="T3"/>
                    </a:cxn>
                    <a:cxn ang="0">
                      <a:pos x="T4" y="T5"/>
                    </a:cxn>
                  </a:cxnLst>
                  <a:rect l="0" t="0" r="r" b="b"/>
                  <a:pathLst>
                    <a:path w="6" h="5">
                      <a:moveTo>
                        <a:pt x="6" y="0"/>
                      </a:moveTo>
                      <a:cubicBezTo>
                        <a:pt x="4" y="2"/>
                        <a:pt x="1" y="4"/>
                        <a:pt x="0" y="5"/>
                      </a:cubicBezTo>
                      <a:cubicBezTo>
                        <a:pt x="0" y="3"/>
                        <a:pt x="2" y="1"/>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000000"/>
                    </a:solidFill>
                    <a:ea typeface="MS PGothic" charset="0"/>
                  </a:endParaRPr>
                </a:p>
              </p:txBody>
            </p:sp>
          </p:grpSp>
        </p:grpSp>
      </p:grpSp>
    </p:spTree>
    <p:extLst>
      <p:ext uri="{BB962C8B-B14F-4D97-AF65-F5344CB8AC3E}">
        <p14:creationId xmlns:p14="http://schemas.microsoft.com/office/powerpoint/2010/main" val="1078278675"/>
      </p:ext>
    </p:extLst>
  </p:cSld>
  <p:clrMapOvr>
    <a:masterClrMapping/>
  </p:clrMapOvr>
  <p:transition spd="slow">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 End to End</a:t>
            </a:r>
            <a:endParaRPr lang="en-US" dirty="0"/>
          </a:p>
        </p:txBody>
      </p:sp>
      <p:sp>
        <p:nvSpPr>
          <p:cNvPr id="2" name="Text Placeholder 1"/>
          <p:cNvSpPr>
            <a:spLocks noGrp="1"/>
          </p:cNvSpPr>
          <p:nvPr>
            <p:ph type="body" sz="quarter" idx="12"/>
          </p:nvPr>
        </p:nvSpPr>
        <p:spPr/>
        <p:txBody>
          <a:bodyPr/>
          <a:lstStyle/>
          <a:p>
            <a:r>
              <a:rPr lang="en-US" dirty="0"/>
              <a:t>Patrick Baumgartner </a:t>
            </a:r>
          </a:p>
        </p:txBody>
      </p:sp>
    </p:spTree>
    <p:extLst>
      <p:ext uri="{BB962C8B-B14F-4D97-AF65-F5344CB8AC3E}">
        <p14:creationId xmlns:p14="http://schemas.microsoft.com/office/powerpoint/2010/main" val="2476364838"/>
      </p:ext>
    </p:extLst>
  </p:cSld>
  <p:clrMapOvr>
    <a:masterClrMapping/>
  </p:clrMapOvr>
  <p:transition spd="slow">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696" y="3671835"/>
            <a:ext cx="12430779" cy="119702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49217" rIns="186521" bIns="149217" numCol="1" spcCol="0" rtlCol="0" fromWordArt="0" anchor="ctr" anchorCtr="0" forceAA="0" compatLnSpc="1">
            <a:prstTxWarp prst="textNoShape">
              <a:avLst/>
            </a:prstTxWarp>
            <a:noAutofit/>
          </a:bodyPr>
          <a:lstStyle/>
          <a:p>
            <a:r>
              <a:rPr lang="en-US" sz="6000" spc="-100" dirty="0">
                <a:ln w="3175">
                  <a:noFill/>
                </a:ln>
                <a:solidFill>
                  <a:srgbClr val="505050"/>
                </a:solidFill>
                <a:latin typeface="Segoe UI Light"/>
                <a:cs typeface="Segoe UI" pitchFamily="34" charset="0"/>
              </a:rPr>
              <a:t>PowerBI.com</a:t>
            </a:r>
          </a:p>
        </p:txBody>
      </p:sp>
      <p:sp>
        <p:nvSpPr>
          <p:cNvPr id="2" name="Title 1"/>
          <p:cNvSpPr>
            <a:spLocks noGrp="1"/>
          </p:cNvSpPr>
          <p:nvPr>
            <p:ph type="title"/>
          </p:nvPr>
        </p:nvSpPr>
        <p:spPr/>
        <p:txBody>
          <a:bodyPr/>
          <a:lstStyle/>
          <a:p>
            <a:r>
              <a:rPr lang="en-US" smtClean="0"/>
              <a:t>It’s easy to get started…</a:t>
            </a:r>
            <a:endParaRPr lang="en-US" dirty="0"/>
          </a:p>
        </p:txBody>
      </p:sp>
    </p:spTree>
    <p:extLst>
      <p:ext uri="{BB962C8B-B14F-4D97-AF65-F5344CB8AC3E}">
        <p14:creationId xmlns:p14="http://schemas.microsoft.com/office/powerpoint/2010/main" val="3004033654"/>
      </p:ext>
    </p:extLst>
  </p:cSld>
  <p:clrMapOvr>
    <a:masterClrMapping/>
  </p:clrMapOvr>
  <p:transition spd="slow">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78148" y="1439862"/>
            <a:ext cx="3530573" cy="4194142"/>
            <a:chOff x="480827" y="1439862"/>
            <a:chExt cx="3530573" cy="4194142"/>
          </a:xfrm>
        </p:grpSpPr>
        <p:sp>
          <p:nvSpPr>
            <p:cNvPr id="8" name="Title 1"/>
            <p:cNvSpPr txBox="1">
              <a:spLocks/>
            </p:cNvSpPr>
            <p:nvPr/>
          </p:nvSpPr>
          <p:spPr>
            <a:xfrm>
              <a:off x="480827" y="1439862"/>
              <a:ext cx="3530573" cy="1222090"/>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672">
                  <a:solidFill>
                    <a:srgbClr val="FFFFFF"/>
                  </a:solidFill>
                </a:rPr>
                <a:t>1</a:t>
              </a:r>
              <a:r>
                <a:rPr sz="3672" baseline="30000">
                  <a:solidFill>
                    <a:srgbClr val="FFFFFF"/>
                  </a:solidFill>
                </a:rPr>
                <a:t>st</a:t>
              </a:r>
              <a:r>
                <a:rPr sz="3672">
                  <a:solidFill>
                    <a:srgbClr val="FFFFFF"/>
                  </a:solidFill>
                </a:rPr>
                <a:t> Wave</a:t>
              </a:r>
              <a:r>
                <a:rPr sz="3672">
                  <a:solidFill>
                    <a:srgbClr val="000000"/>
                  </a:solidFill>
                </a:rPr>
                <a:t/>
              </a:r>
              <a:br>
                <a:rPr sz="3672">
                  <a:solidFill>
                    <a:srgbClr val="000000"/>
                  </a:solidFill>
                </a:rPr>
              </a:br>
              <a:r>
                <a:rPr sz="3672">
                  <a:solidFill>
                    <a:srgbClr val="FFFFFF"/>
                  </a:solidFill>
                  <a:latin typeface="Segoe UI Semibold" panose="020B0702040204020203" pitchFamily="34" charset="0"/>
                  <a:cs typeface="Segoe UI Semibold" panose="020B0702040204020203" pitchFamily="34" charset="0"/>
                </a:rPr>
                <a:t>Technical BI</a:t>
              </a:r>
            </a:p>
          </p:txBody>
        </p:sp>
        <p:grpSp>
          <p:nvGrpSpPr>
            <p:cNvPr id="43" name="Group 42"/>
            <p:cNvGrpSpPr/>
            <p:nvPr/>
          </p:nvGrpSpPr>
          <p:grpSpPr>
            <a:xfrm>
              <a:off x="1486730" y="3209731"/>
              <a:ext cx="1398905" cy="1398905"/>
              <a:chOff x="2112582" y="2397903"/>
              <a:chExt cx="2286000" cy="2286000"/>
            </a:xfrm>
          </p:grpSpPr>
          <p:sp>
            <p:nvSpPr>
              <p:cNvPr id="44" name="Oval 43"/>
              <p:cNvSpPr/>
              <p:nvPr/>
            </p:nvSpPr>
            <p:spPr bwMode="auto">
              <a:xfrm>
                <a:off x="2112582" y="2397903"/>
                <a:ext cx="2286000" cy="22860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Freeform 25"/>
              <p:cNvSpPr>
                <a:spLocks noChangeAspect="1" noEditPoints="1"/>
              </p:cNvSpPr>
              <p:nvPr/>
            </p:nvSpPr>
            <p:spPr bwMode="auto">
              <a:xfrm>
                <a:off x="2846482" y="3100792"/>
                <a:ext cx="818201" cy="880222"/>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sp>
          <p:nvSpPr>
            <p:cNvPr id="46" name="TextBox 45"/>
            <p:cNvSpPr txBox="1"/>
            <p:nvPr/>
          </p:nvSpPr>
          <p:spPr>
            <a:xfrm>
              <a:off x="1189037" y="5238446"/>
              <a:ext cx="2057400" cy="395558"/>
            </a:xfrm>
            <a:prstGeom prst="rect">
              <a:avLst/>
            </a:prstGeom>
            <a:noFill/>
          </p:spPr>
          <p:txBody>
            <a:bodyPr wrap="square" lIns="0" tIns="0" rIns="0" bIns="0" rtlCol="0">
              <a:spAutoFit/>
            </a:bodyPr>
            <a:lstStyle/>
            <a:p>
              <a:pPr algn="ctr" defTabSz="932563">
                <a:lnSpc>
                  <a:spcPct val="90000"/>
                </a:lnSpc>
                <a:spcAft>
                  <a:spcPts val="600"/>
                </a:spcAft>
              </a:pPr>
              <a:r>
                <a:rPr lang="en-US" sz="2856" spc="-102" dirty="0" smtClean="0">
                  <a:ln w="3175">
                    <a:noFill/>
                  </a:ln>
                  <a:solidFill>
                    <a:srgbClr val="FFFFFF"/>
                  </a:solidFill>
                  <a:cs typeface="Segoe UI Semibold" panose="020B0702040204020203" pitchFamily="34" charset="0"/>
                </a:rPr>
                <a:t>IT/BI PRO </a:t>
              </a:r>
              <a:endParaRPr lang="en-US" sz="2856" spc="-102" dirty="0">
                <a:ln w="3175">
                  <a:noFill/>
                </a:ln>
                <a:solidFill>
                  <a:srgbClr val="FFFFFF"/>
                </a:solidFill>
                <a:cs typeface="Segoe UI Semibold" panose="020B0702040204020203" pitchFamily="34" charset="0"/>
              </a:endParaRPr>
            </a:p>
          </p:txBody>
        </p:sp>
      </p:grpSp>
      <p:sp>
        <p:nvSpPr>
          <p:cNvPr id="2" name="Title 1"/>
          <p:cNvSpPr>
            <a:spLocks noGrp="1"/>
          </p:cNvSpPr>
          <p:nvPr>
            <p:ph type="title"/>
          </p:nvPr>
        </p:nvSpPr>
        <p:spPr/>
        <p:txBody>
          <a:bodyPr/>
          <a:lstStyle/>
          <a:p>
            <a:r>
              <a:rPr lang="en-US" sz="4400" dirty="0"/>
              <a:t>I</a:t>
            </a:r>
            <a:r>
              <a:rPr lang="en-US" sz="4400" dirty="0" smtClean="0"/>
              <a:t>nvestment across all BI waves</a:t>
            </a:r>
            <a:endParaRPr lang="en-US" sz="4400" dirty="0"/>
          </a:p>
        </p:txBody>
      </p:sp>
      <p:grpSp>
        <p:nvGrpSpPr>
          <p:cNvPr id="4" name="Group 3"/>
          <p:cNvGrpSpPr/>
          <p:nvPr/>
        </p:nvGrpSpPr>
        <p:grpSpPr>
          <a:xfrm>
            <a:off x="8035390" y="1439862"/>
            <a:ext cx="4065420" cy="4194142"/>
            <a:chOff x="7850750" y="1439862"/>
            <a:chExt cx="4065420" cy="4194142"/>
          </a:xfrm>
        </p:grpSpPr>
        <p:sp>
          <p:nvSpPr>
            <p:cNvPr id="12" name="Title 1"/>
            <p:cNvSpPr txBox="1">
              <a:spLocks/>
            </p:cNvSpPr>
            <p:nvPr/>
          </p:nvSpPr>
          <p:spPr>
            <a:xfrm>
              <a:off x="8381603" y="1439862"/>
              <a:ext cx="3534567" cy="1222090"/>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672">
                  <a:solidFill>
                    <a:srgbClr val="FFFFFF"/>
                  </a:solidFill>
                </a:rPr>
                <a:t>3</a:t>
              </a:r>
              <a:r>
                <a:rPr sz="3672" baseline="30000">
                  <a:solidFill>
                    <a:srgbClr val="FFFFFF"/>
                  </a:solidFill>
                </a:rPr>
                <a:t>rd</a:t>
              </a:r>
              <a:r>
                <a:rPr sz="3672">
                  <a:solidFill>
                    <a:srgbClr val="FFFFFF"/>
                  </a:solidFill>
                </a:rPr>
                <a:t> Wave</a:t>
              </a:r>
              <a:r>
                <a:rPr sz="3672">
                  <a:solidFill>
                    <a:srgbClr val="000000"/>
                  </a:solidFill>
                </a:rPr>
                <a:t/>
              </a:r>
              <a:br>
                <a:rPr sz="3672">
                  <a:solidFill>
                    <a:srgbClr val="000000"/>
                  </a:solidFill>
                </a:rPr>
              </a:br>
              <a:r>
                <a:rPr sz="3672">
                  <a:solidFill>
                    <a:srgbClr val="FFFFFF"/>
                  </a:solidFill>
                  <a:latin typeface="Segoe UI Semibold" panose="020B0702040204020203" pitchFamily="34" charset="0"/>
                  <a:cs typeface="Segoe UI Semibold" panose="020B0702040204020203" pitchFamily="34" charset="0"/>
                </a:rPr>
                <a:t>End User BI</a:t>
              </a:r>
              <a:endParaRPr sz="4799">
                <a:solidFill>
                  <a:srgbClr val="FFFFFF"/>
                </a:solidFill>
                <a:latin typeface="Segoe UI Semibold" panose="020B0702040204020203" pitchFamily="34" charset="0"/>
                <a:cs typeface="Segoe UI Semibold" panose="020B0702040204020203" pitchFamily="34" charset="0"/>
              </a:endParaRPr>
            </a:p>
          </p:txBody>
        </p:sp>
        <p:sp>
          <p:nvSpPr>
            <p:cNvPr id="33" name="TextBox 32"/>
            <p:cNvSpPr txBox="1"/>
            <p:nvPr/>
          </p:nvSpPr>
          <p:spPr>
            <a:xfrm>
              <a:off x="9188927" y="5238446"/>
              <a:ext cx="1919922" cy="395558"/>
            </a:xfrm>
            <a:prstGeom prst="rect">
              <a:avLst/>
            </a:prstGeom>
            <a:noFill/>
          </p:spPr>
          <p:txBody>
            <a:bodyPr wrap="square" lIns="0" tIns="0" rIns="0" bIns="0" rtlCol="0">
              <a:spAutoFit/>
            </a:bodyPr>
            <a:lstStyle/>
            <a:p>
              <a:pPr algn="ctr" defTabSz="932563">
                <a:lnSpc>
                  <a:spcPct val="90000"/>
                </a:lnSpc>
                <a:spcAft>
                  <a:spcPts val="600"/>
                </a:spcAft>
              </a:pPr>
              <a:r>
                <a:rPr lang="en-US" sz="2856" spc="-102" dirty="0" smtClean="0">
                  <a:ln w="3175">
                    <a:noFill/>
                  </a:ln>
                  <a:solidFill>
                    <a:srgbClr val="FFFFFF"/>
                  </a:solidFill>
                  <a:cs typeface="Segoe UI Semibold" panose="020B0702040204020203" pitchFamily="34" charset="0"/>
                </a:rPr>
                <a:t>Everyone</a:t>
              </a:r>
            </a:p>
          </p:txBody>
        </p:sp>
        <p:grpSp>
          <p:nvGrpSpPr>
            <p:cNvPr id="24" name="Group 23"/>
            <p:cNvGrpSpPr/>
            <p:nvPr/>
          </p:nvGrpSpPr>
          <p:grpSpPr>
            <a:xfrm>
              <a:off x="9089405" y="2849701"/>
              <a:ext cx="2118964" cy="2118964"/>
              <a:chOff x="8911126" y="2526744"/>
              <a:chExt cx="2077604" cy="2077604"/>
            </a:xfrm>
          </p:grpSpPr>
          <p:sp>
            <p:nvSpPr>
              <p:cNvPr id="20" name="Oval 19"/>
              <p:cNvSpPr/>
              <p:nvPr/>
            </p:nvSpPr>
            <p:spPr bwMode="auto">
              <a:xfrm>
                <a:off x="8911126" y="2526744"/>
                <a:ext cx="2077604" cy="2077604"/>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Freeform 13"/>
              <p:cNvSpPr>
                <a:spLocks noChangeAspect="1" noEditPoints="1"/>
              </p:cNvSpPr>
              <p:nvPr/>
            </p:nvSpPr>
            <p:spPr bwMode="auto">
              <a:xfrm>
                <a:off x="10080015" y="3138919"/>
                <a:ext cx="723334" cy="733850"/>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73" name="Freeform 25"/>
              <p:cNvSpPr>
                <a:spLocks noChangeAspect="1" noEditPoints="1"/>
              </p:cNvSpPr>
              <p:nvPr/>
            </p:nvSpPr>
            <p:spPr bwMode="auto">
              <a:xfrm>
                <a:off x="9593601" y="2721065"/>
                <a:ext cx="682142" cy="73385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sp>
            <p:nvSpPr>
              <p:cNvPr id="88" name="Freeform 5"/>
              <p:cNvSpPr>
                <a:spLocks noChangeAspect="1" noEditPoints="1"/>
              </p:cNvSpPr>
              <p:nvPr/>
            </p:nvSpPr>
            <p:spPr bwMode="auto">
              <a:xfrm>
                <a:off x="9095090" y="3138919"/>
                <a:ext cx="696524" cy="731520"/>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505050"/>
                  </a:solidFill>
                </a:endParaRPr>
              </a:p>
            </p:txBody>
          </p:sp>
          <p:grpSp>
            <p:nvGrpSpPr>
              <p:cNvPr id="106" name="Group 4"/>
              <p:cNvGrpSpPr>
                <a:grpSpLocks/>
              </p:cNvGrpSpPr>
              <p:nvPr/>
            </p:nvGrpSpPr>
            <p:grpSpPr bwMode="auto">
              <a:xfrm>
                <a:off x="9597810" y="3588703"/>
                <a:ext cx="685800" cy="731520"/>
                <a:chOff x="3730" y="2047"/>
                <a:chExt cx="220" cy="226"/>
              </a:xfrm>
            </p:grpSpPr>
            <p:sp>
              <p:nvSpPr>
                <p:cNvPr id="107" name="AutoShape 3"/>
                <p:cNvSpPr>
                  <a:spLocks noChangeAspect="1" noChangeArrowheads="1" noTextEdit="1"/>
                </p:cNvSpPr>
                <p:nvPr/>
              </p:nvSpPr>
              <p:spPr bwMode="auto">
                <a:xfrm>
                  <a:off x="3730" y="2047"/>
                  <a:ext cx="22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8" name="Oval 5"/>
                <p:cNvSpPr>
                  <a:spLocks noChangeArrowheads="1"/>
                </p:cNvSpPr>
                <p:nvPr/>
              </p:nvSpPr>
              <p:spPr bwMode="auto">
                <a:xfrm>
                  <a:off x="3798" y="2049"/>
                  <a:ext cx="88" cy="8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9" name="Freeform 6"/>
                <p:cNvSpPr>
                  <a:spLocks noEditPoints="1"/>
                </p:cNvSpPr>
                <p:nvPr/>
              </p:nvSpPr>
              <p:spPr bwMode="auto">
                <a:xfrm>
                  <a:off x="3838"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10"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grpSp>
        </p:grpSp>
        <p:sp>
          <p:nvSpPr>
            <p:cNvPr id="31" name="Cross 30"/>
            <p:cNvSpPr/>
            <p:nvPr/>
          </p:nvSpPr>
          <p:spPr bwMode="auto">
            <a:xfrm>
              <a:off x="7850750" y="3651845"/>
              <a:ext cx="687950" cy="646870"/>
            </a:xfrm>
            <a:prstGeom prst="plus">
              <a:avLst>
                <a:gd name="adj" fmla="val 41263"/>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grpSp>
        <p:nvGrpSpPr>
          <p:cNvPr id="3" name="Group 2"/>
          <p:cNvGrpSpPr/>
          <p:nvPr/>
        </p:nvGrpSpPr>
        <p:grpSpPr>
          <a:xfrm>
            <a:off x="3965077" y="1439862"/>
            <a:ext cx="4013957" cy="4194142"/>
            <a:chOff x="3971564" y="1439862"/>
            <a:chExt cx="4013957" cy="4194142"/>
          </a:xfrm>
        </p:grpSpPr>
        <p:sp>
          <p:nvSpPr>
            <p:cNvPr id="11" name="Title 1"/>
            <p:cNvSpPr txBox="1">
              <a:spLocks/>
            </p:cNvSpPr>
            <p:nvPr/>
          </p:nvSpPr>
          <p:spPr>
            <a:xfrm>
              <a:off x="4450954" y="1439862"/>
              <a:ext cx="3534567" cy="1222090"/>
            </a:xfrm>
            <a:prstGeom prst="rect">
              <a:avLst/>
            </a:prstGeom>
          </p:spPr>
          <p:txBody>
            <a:bodyPr vert="horz" wrap="square" lIns="146283" tIns="91427" rIns="146283" bIns="91427"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3672">
                  <a:solidFill>
                    <a:srgbClr val="FFFFFF"/>
                  </a:solidFill>
                </a:rPr>
                <a:t>2</a:t>
              </a:r>
              <a:r>
                <a:rPr sz="3672" baseline="30000">
                  <a:solidFill>
                    <a:srgbClr val="FFFFFF"/>
                  </a:solidFill>
                </a:rPr>
                <a:t>nd</a:t>
              </a:r>
              <a:r>
                <a:rPr sz="3672">
                  <a:solidFill>
                    <a:srgbClr val="FFFFFF"/>
                  </a:solidFill>
                </a:rPr>
                <a:t> Wave</a:t>
              </a:r>
              <a:r>
                <a:rPr sz="3672">
                  <a:solidFill>
                    <a:srgbClr val="000000"/>
                  </a:solidFill>
                </a:rPr>
                <a:t/>
              </a:r>
              <a:br>
                <a:rPr sz="3672">
                  <a:solidFill>
                    <a:srgbClr val="000000"/>
                  </a:solidFill>
                </a:rPr>
              </a:br>
              <a:r>
                <a:rPr sz="3672">
                  <a:solidFill>
                    <a:srgbClr val="FFFFFF"/>
                  </a:solidFill>
                  <a:latin typeface="Segoe UI Semibold" panose="020B0702040204020203" pitchFamily="34" charset="0"/>
                  <a:cs typeface="Segoe UI Semibold" panose="020B0702040204020203" pitchFamily="34" charset="0"/>
                </a:rPr>
                <a:t>Self Service BI</a:t>
              </a:r>
            </a:p>
          </p:txBody>
        </p:sp>
        <p:sp>
          <p:nvSpPr>
            <p:cNvPr id="61" name="TextBox 60"/>
            <p:cNvSpPr txBox="1"/>
            <p:nvPr/>
          </p:nvSpPr>
          <p:spPr>
            <a:xfrm>
              <a:off x="4833513" y="5238446"/>
              <a:ext cx="2984924" cy="395558"/>
            </a:xfrm>
            <a:prstGeom prst="rect">
              <a:avLst/>
            </a:prstGeom>
            <a:noFill/>
          </p:spPr>
          <p:txBody>
            <a:bodyPr wrap="square" lIns="0" tIns="0" rIns="0" bIns="0" rtlCol="0">
              <a:spAutoFit/>
            </a:bodyPr>
            <a:lstStyle/>
            <a:p>
              <a:pPr algn="ctr" defTabSz="932563">
                <a:lnSpc>
                  <a:spcPct val="90000"/>
                </a:lnSpc>
                <a:spcAft>
                  <a:spcPts val="600"/>
                </a:spcAft>
              </a:pPr>
              <a:r>
                <a:rPr lang="en-US" sz="2856" spc="-102" dirty="0" smtClean="0">
                  <a:ln w="3175">
                    <a:noFill/>
                  </a:ln>
                  <a:solidFill>
                    <a:srgbClr val="FFFFFF"/>
                  </a:solidFill>
                  <a:cs typeface="Segoe UI Semibold" panose="020B0702040204020203" pitchFamily="34" charset="0"/>
                </a:rPr>
                <a:t>Business Analyst</a:t>
              </a:r>
              <a:endParaRPr lang="en-US" sz="2856" spc="-102" dirty="0">
                <a:ln w="3175">
                  <a:noFill/>
                </a:ln>
                <a:solidFill>
                  <a:srgbClr val="FFFFFF"/>
                </a:solidFill>
                <a:cs typeface="Segoe UI Semibold" panose="020B0702040204020203" pitchFamily="34" charset="0"/>
              </a:endParaRPr>
            </a:p>
          </p:txBody>
        </p:sp>
        <p:grpSp>
          <p:nvGrpSpPr>
            <p:cNvPr id="95" name="Group 94"/>
            <p:cNvGrpSpPr/>
            <p:nvPr/>
          </p:nvGrpSpPr>
          <p:grpSpPr>
            <a:xfrm>
              <a:off x="5518785" y="3209731"/>
              <a:ext cx="1398905" cy="1398905"/>
              <a:chOff x="4579443" y="2879746"/>
              <a:chExt cx="1371600" cy="1371600"/>
            </a:xfrm>
          </p:grpSpPr>
          <p:sp>
            <p:nvSpPr>
              <p:cNvPr id="96" name="Oval 95"/>
              <p:cNvSpPr/>
              <p:nvPr/>
            </p:nvSpPr>
            <p:spPr bwMode="auto">
              <a:xfrm>
                <a:off x="4579443" y="2879746"/>
                <a:ext cx="1371600" cy="1371600"/>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4"/>
              <p:cNvGrpSpPr>
                <a:grpSpLocks/>
              </p:cNvGrpSpPr>
              <p:nvPr/>
            </p:nvGrpSpPr>
            <p:grpSpPr bwMode="auto">
              <a:xfrm>
                <a:off x="5022058" y="3298032"/>
                <a:ext cx="484632" cy="507030"/>
                <a:chOff x="3730" y="2047"/>
                <a:chExt cx="220" cy="226"/>
              </a:xfrm>
            </p:grpSpPr>
            <p:sp>
              <p:nvSpPr>
                <p:cNvPr id="98" name="AutoShape 3"/>
                <p:cNvSpPr>
                  <a:spLocks noChangeAspect="1" noChangeArrowheads="1" noTextEdit="1"/>
                </p:cNvSpPr>
                <p:nvPr/>
              </p:nvSpPr>
              <p:spPr bwMode="auto">
                <a:xfrm>
                  <a:off x="3730" y="2047"/>
                  <a:ext cx="220" cy="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99" name="Oval 5"/>
                <p:cNvSpPr>
                  <a:spLocks noChangeArrowheads="1"/>
                </p:cNvSpPr>
                <p:nvPr/>
              </p:nvSpPr>
              <p:spPr bwMode="auto">
                <a:xfrm>
                  <a:off x="3798" y="2049"/>
                  <a:ext cx="88" cy="8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0" name="Freeform 6"/>
                <p:cNvSpPr>
                  <a:spLocks noEditPoints="1"/>
                </p:cNvSpPr>
                <p:nvPr/>
              </p:nvSpPr>
              <p:spPr bwMode="auto">
                <a:xfrm>
                  <a:off x="3838"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sp>
              <p:nvSpPr>
                <p:cNvPr id="101"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baseline="-25000">
                    <a:solidFill>
                      <a:srgbClr val="505050"/>
                    </a:solidFill>
                  </a:endParaRPr>
                </a:p>
              </p:txBody>
            </p:sp>
          </p:grpSp>
        </p:grpSp>
        <p:sp>
          <p:nvSpPr>
            <p:cNvPr id="32" name="Cross 31"/>
            <p:cNvSpPr/>
            <p:nvPr/>
          </p:nvSpPr>
          <p:spPr bwMode="auto">
            <a:xfrm>
              <a:off x="3971564" y="3651845"/>
              <a:ext cx="687950" cy="646870"/>
            </a:xfrm>
            <a:prstGeom prst="plus">
              <a:avLst>
                <a:gd name="adj" fmla="val 41263"/>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sp>
        <p:nvSpPr>
          <p:cNvPr id="6" name="Rectangle 5"/>
          <p:cNvSpPr/>
          <p:nvPr/>
        </p:nvSpPr>
        <p:spPr bwMode="auto">
          <a:xfrm>
            <a:off x="579437" y="1212850"/>
            <a:ext cx="11521373" cy="5027612"/>
          </a:xfrm>
          <a:prstGeom prst="rect">
            <a:avLst/>
          </a:prstGeom>
          <a:noFill/>
          <a:ln w="3810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76458934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left)">
                                      <p:cBhvr>
                                        <p:cTn id="17" dur="500"/>
                                        <p:tgtEl>
                                          <p:spTgt spid="4"/>
                                        </p:tgtEl>
                                      </p:cBhvr>
                                    </p:animEffect>
                                  </p:childTnLst>
                                </p:cTn>
                              </p:par>
                            </p:childTnLst>
                          </p:cTn>
                        </p:par>
                        <p:par>
                          <p:cTn id="18" fill="hold">
                            <p:stCondLst>
                              <p:cond delay="500"/>
                            </p:stCondLst>
                            <p:childTnLst>
                              <p:par>
                                <p:cTn id="19" presetID="1"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BI Sessions at this conference</a:t>
            </a:r>
            <a:endParaRPr lang="en-US" dirty="0"/>
          </a:p>
        </p:txBody>
      </p:sp>
      <p:graphicFrame>
        <p:nvGraphicFramePr>
          <p:cNvPr id="3" name="Table 2"/>
          <p:cNvGraphicFramePr>
            <a:graphicFrameLocks noGrp="1"/>
          </p:cNvGraphicFramePr>
          <p:nvPr>
            <p:extLst/>
          </p:nvPr>
        </p:nvGraphicFramePr>
        <p:xfrm>
          <a:off x="579437" y="1363663"/>
          <a:ext cx="11430000" cy="4761101"/>
        </p:xfrm>
        <a:graphic>
          <a:graphicData uri="http://schemas.openxmlformats.org/drawingml/2006/table">
            <a:tbl>
              <a:tblPr firstRow="1" bandRow="1">
                <a:tableStyleId>{5C22544A-7EE6-4342-B048-85BDC9FD1C3A}</a:tableStyleId>
              </a:tblPr>
              <a:tblGrid>
                <a:gridCol w="6378878"/>
                <a:gridCol w="2736677"/>
                <a:gridCol w="2314445"/>
              </a:tblGrid>
              <a:tr h="426968">
                <a:tc>
                  <a:txBody>
                    <a:bodyPr/>
                    <a:lstStyle/>
                    <a:p>
                      <a:pPr>
                        <a:spcAft>
                          <a:spcPts val="600"/>
                        </a:spcAft>
                      </a:pPr>
                      <a:r>
                        <a:rPr lang="en-US" sz="1600" dirty="0" smtClean="0">
                          <a:solidFill>
                            <a:schemeClr val="accent6"/>
                          </a:solidFill>
                        </a:rPr>
                        <a:t>Title</a:t>
                      </a:r>
                      <a:endParaRPr lang="en-US" sz="1600" dirty="0">
                        <a:solidFill>
                          <a:schemeClr val="accent6"/>
                        </a:solid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en-US" sz="1600" dirty="0" smtClean="0">
                          <a:solidFill>
                            <a:schemeClr val="accent6"/>
                          </a:solidFill>
                        </a:rPr>
                        <a:t>Date/Time</a:t>
                      </a:r>
                      <a:endParaRPr lang="en-US" sz="1600" dirty="0">
                        <a:solidFill>
                          <a:schemeClr val="accent6"/>
                        </a:solid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en-US" sz="1600" dirty="0" smtClean="0">
                          <a:solidFill>
                            <a:schemeClr val="accent6"/>
                          </a:solidFill>
                        </a:rPr>
                        <a:t>Location</a:t>
                      </a:r>
                      <a:endParaRPr lang="en-US" sz="1600" dirty="0">
                        <a:solidFill>
                          <a:schemeClr val="accent6"/>
                        </a:solidFill>
                      </a:endParaRP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94834">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Power BI Overview </a:t>
                      </a: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Tuesday, 10:45am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1200"/>
                        </a:spcAft>
                        <a:buClrTx/>
                        <a:buSzTx/>
                        <a:buFontTx/>
                        <a:buNone/>
                        <a:tabLst/>
                        <a:defRPr/>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N426</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r h="494834">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Microsoft SQL Server BI Drill Dow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Tuesday, 01:30PM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1200"/>
                        </a:spcAft>
                        <a:buClrTx/>
                        <a:buSzTx/>
                        <a:buFontTx/>
                        <a:buNone/>
                        <a:tabLst/>
                        <a:defRPr/>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S104</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854713">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End to end Microsoft Business Analytics solution</a:t>
                      </a:r>
                      <a:r>
                        <a:rPr lang="en-US" sz="1800" kern="1200" baseline="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
                      </a:r>
                      <a:b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b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Real world scenario and demo</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Wednesday, 03:15PM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1200"/>
                        </a:spcAft>
                        <a:buClrTx/>
                        <a:buSzTx/>
                        <a:buFontTx/>
                        <a:buNone/>
                        <a:tabLst/>
                        <a:defRPr/>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S102</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494834">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Advanced modelling and calculations using the Power BI designer</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Thursday</a:t>
                      </a:r>
                      <a:r>
                        <a:rPr lang="en-US" sz="1800" kern="1200" baseline="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 10:45am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1200"/>
                        </a:spcAft>
                        <a:buClrTx/>
                        <a:buSzTx/>
                        <a:buFontTx/>
                        <a:buNone/>
                        <a:tabLst/>
                        <a:defRPr/>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N230</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510416">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Power BI for developers</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Thursday, 5:00pm</a:t>
                      </a:r>
                      <a:r>
                        <a:rPr lang="en-US" sz="1800" kern="1200" baseline="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 </a:t>
                      </a: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1200"/>
                        </a:spcAft>
                        <a:buClrTx/>
                        <a:buSzTx/>
                        <a:buFontTx/>
                        <a:buNone/>
                        <a:tabLst/>
                        <a:defRPr/>
                      </a:pPr>
                      <a:r>
                        <a:rPr lang="en-US" sz="1800" kern="120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N228</a:t>
                      </a:r>
                      <a:endPar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494834">
                <a:tc>
                  <a:txBody>
                    <a:bodyPr/>
                    <a:lstStyle/>
                    <a:p>
                      <a:pPr>
                        <a:spcBef>
                          <a:spcPts val="0"/>
                        </a:spcBef>
                        <a:spcAft>
                          <a:spcPts val="1200"/>
                        </a:spcAft>
                      </a:pPr>
                      <a:r>
                        <a:rPr lang="en-AU"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Power BI labs  Instructor Led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Tuesday, 10:45AM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32667" rtl="0" eaLnBrk="1" fontAlgn="auto" latinLnBrk="0" hangingPunct="1">
                        <a:lnSpc>
                          <a:spcPct val="100000"/>
                        </a:lnSpc>
                        <a:spcBef>
                          <a:spcPts val="0"/>
                        </a:spcBef>
                        <a:spcAft>
                          <a:spcPts val="1200"/>
                        </a:spcAft>
                        <a:buClrTx/>
                        <a:buSzTx/>
                        <a:buFontTx/>
                        <a:buNone/>
                        <a:tabLst/>
                        <a:defRPr/>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ILL255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494834">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Hands on Labs Creating a Microsoft Power BI Dashboard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On-Demand</a:t>
                      </a:r>
                      <a:r>
                        <a:rPr lang="en-US" sz="1800" kern="1200" baseline="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32667" rtl="0" eaLnBrk="1" fontAlgn="auto" latinLnBrk="0" hangingPunct="1">
                        <a:lnSpc>
                          <a:spcPct val="100000"/>
                        </a:lnSpc>
                        <a:spcBef>
                          <a:spcPts val="0"/>
                        </a:spcBef>
                        <a:spcAft>
                          <a:spcPts val="1200"/>
                        </a:spcAft>
                        <a:buClrTx/>
                        <a:buSzTx/>
                        <a:buFontTx/>
                        <a:buNone/>
                        <a:tabLst/>
                        <a:defRPr/>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HOL255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494834">
                <a:tc>
                  <a:txBody>
                    <a:bodyPr/>
                    <a:lstStyle/>
                    <a:p>
                      <a:pPr>
                        <a:spcBef>
                          <a:spcPts val="0"/>
                        </a:spcBef>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Creating a Microsoft Power BI Designer Solution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spcAft>
                          <a:spcPts val="1200"/>
                        </a:spcAft>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On-Demand </a:t>
                      </a:r>
                      <a:endParaRPr lang="en-US" sz="1800" kern="12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indent="0" algn="l" defTabSz="932667" rtl="0" eaLnBrk="1" fontAlgn="auto" latinLnBrk="0" hangingPunct="1">
                        <a:lnSpc>
                          <a:spcPct val="100000"/>
                        </a:lnSpc>
                        <a:spcBef>
                          <a:spcPts val="0"/>
                        </a:spcBef>
                        <a:spcAft>
                          <a:spcPts val="1200"/>
                        </a:spcAft>
                        <a:buClrTx/>
                        <a:buSzTx/>
                        <a:buFontTx/>
                        <a:buNone/>
                        <a:tabLst/>
                        <a:defRPr/>
                      </a:pPr>
                      <a:r>
                        <a:rPr lang="en-US" sz="1800" kern="12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HOL2557</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21537532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this session</a:t>
            </a:r>
          </a:p>
          <a:p>
            <a:pPr>
              <a:lnSpc>
                <a:spcPct val="80000"/>
              </a:lnSpc>
            </a:pPr>
            <a:r>
              <a:rPr sz="3200">
                <a:gradFill>
                  <a:gsLst>
                    <a:gs pos="1250">
                      <a:srgbClr val="FF8C00"/>
                    </a:gs>
                    <a:gs pos="100000">
                      <a:srgbClr val="FF8C00"/>
                    </a:gs>
                  </a:gsLst>
                  <a:lin ang="5400000" scaled="0"/>
                </a:gradFill>
              </a:rPr>
              <a:t>Your feedback is 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723600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175280" y="1979525"/>
            <a:ext cx="5870838" cy="3051605"/>
          </a:xfrm>
          <a:prstGeom prst="rect">
            <a:avLst/>
          </a:prstGeom>
          <a:noFill/>
        </p:spPr>
        <p:txBody>
          <a:bodyPr wrap="none" lIns="182880" tIns="146304" rIns="182880" bIns="146304" rtlCol="0">
            <a:spAutoFit/>
          </a:bodyPr>
          <a:lstStyle/>
          <a:p>
            <a:pPr>
              <a:lnSpc>
                <a:spcPct val="90000"/>
              </a:lnSpc>
              <a:spcAft>
                <a:spcPts val="600"/>
              </a:spcAft>
            </a:pPr>
            <a:r>
              <a:rPr lang="en-US" sz="19900" dirty="0" smtClean="0">
                <a:gradFill>
                  <a:gsLst>
                    <a:gs pos="2917">
                      <a:srgbClr val="FFFFFF"/>
                    </a:gs>
                    <a:gs pos="30000">
                      <a:srgbClr val="FFFFFF"/>
                    </a:gs>
                  </a:gsLst>
                  <a:lin ang="5400000" scaled="0"/>
                </a:gradFill>
              </a:rPr>
              <a:t>2015</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1842638"/>
            <a:ext cx="5913437" cy="3325377"/>
          </a:xfrm>
          <a:prstGeom prst="rect">
            <a:avLst/>
          </a:prstGeom>
          <a:ln w="1143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82833890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0 0 L 0.25 0 E" pathEditMode="relative" ptsTypes="">
                                      <p:cBhvr>
                                        <p:cTn id="6" dur="2000" fill="hold"/>
                                        <p:tgtEl>
                                          <p:spTgt spid="4"/>
                                        </p:tgtEl>
                                        <p:attrNameLst>
                                          <p:attrName>ppt_x</p:attrName>
                                          <p:attrName>ppt_y</p:attrName>
                                        </p:attrNameLst>
                                      </p:cBhvr>
                                    </p:animMotion>
                                  </p:childTnLst>
                                </p:cTn>
                              </p:par>
                              <p:par>
                                <p:cTn id="7" presetID="10" presetClass="entr" presetSubtype="0" fill="hold" nodeType="withEffect">
                                  <p:stCondLst>
                                    <p:cond delay="150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175280" y="1979525"/>
            <a:ext cx="5870838" cy="3051605"/>
          </a:xfrm>
          <a:prstGeom prst="rect">
            <a:avLst/>
          </a:prstGeom>
          <a:noFill/>
        </p:spPr>
        <p:txBody>
          <a:bodyPr wrap="none" lIns="182880" tIns="146304" rIns="182880" bIns="146304" rtlCol="0">
            <a:spAutoFit/>
          </a:bodyPr>
          <a:lstStyle/>
          <a:p>
            <a:pPr>
              <a:lnSpc>
                <a:spcPct val="90000"/>
              </a:lnSpc>
              <a:spcAft>
                <a:spcPts val="600"/>
              </a:spcAft>
            </a:pPr>
            <a:r>
              <a:rPr lang="en-US" sz="19900" dirty="0" smtClean="0">
                <a:gradFill>
                  <a:gsLst>
                    <a:gs pos="2917">
                      <a:srgbClr val="FFFFFF"/>
                    </a:gs>
                    <a:gs pos="30000">
                      <a:srgbClr val="FFFFFF"/>
                    </a:gs>
                  </a:gsLst>
                  <a:lin ang="5400000" scaled="0"/>
                </a:gradFill>
              </a:rPr>
              <a:t>1996</a:t>
            </a:r>
          </a:p>
        </p:txBody>
      </p:sp>
      <p:pic>
        <p:nvPicPr>
          <p:cNvPr id="3" name="Picture 2"/>
          <p:cNvPicPr>
            <a:picLocks noChangeAspect="1"/>
          </p:cNvPicPr>
          <p:nvPr/>
        </p:nvPicPr>
        <p:blipFill>
          <a:blip r:embed="rId2"/>
          <a:stretch>
            <a:fillRect/>
          </a:stretch>
        </p:blipFill>
        <p:spPr>
          <a:xfrm>
            <a:off x="731837" y="449262"/>
            <a:ext cx="5172893" cy="597577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28397693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0 0 L 0.25 0 E" pathEditMode="relative" ptsTypes="">
                                      <p:cBhvr>
                                        <p:cTn id="6" dur="2000" fill="hold"/>
                                        <p:tgtEl>
                                          <p:spTgt spid="4"/>
                                        </p:tgtEl>
                                        <p:attrNameLst>
                                          <p:attrName>ppt_x</p:attrName>
                                          <p:attrName>ppt_y</p:attrName>
                                        </p:attrNameLst>
                                      </p:cBhvr>
                                    </p:animMotion>
                                  </p:childTnLst>
                                </p:cTn>
                              </p:par>
                              <p:par>
                                <p:cTn id="7" presetID="10" presetClass="entr" presetSubtype="0" fill="hold" nodeType="withEffect">
                                  <p:stCondLst>
                                    <p:cond delay="1500"/>
                                  </p:stCondLst>
                                  <p:childTnLst>
                                    <p:set>
                                      <p:cBhvr>
                                        <p:cTn id="8" dur="1" fill="hold">
                                          <p:stCondLst>
                                            <p:cond delay="0"/>
                                          </p:stCondLst>
                                        </p:cTn>
                                        <p:tgtEl>
                                          <p:spTgt spid="3"/>
                                        </p:tgtEl>
                                        <p:attrNameLst>
                                          <p:attrName>style.visibility</p:attrName>
                                        </p:attrNameLst>
                                      </p:cBhvr>
                                      <p:to>
                                        <p:strVal val="visible"/>
                                      </p:to>
                                    </p:set>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6095" y="536262"/>
            <a:ext cx="8529852" cy="5904142"/>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Tree>
    <p:extLst>
      <p:ext uri="{BB962C8B-B14F-4D97-AF65-F5344CB8AC3E}">
        <p14:creationId xmlns:p14="http://schemas.microsoft.com/office/powerpoint/2010/main" val="1703867360"/>
      </p:ext>
    </p:extLst>
  </p:cSld>
  <p:clrMapOvr>
    <a:masterClrMapping/>
  </p:clrMapOvr>
  <p:transition spd="slow">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70037" y="479425"/>
            <a:ext cx="9136901" cy="5907821"/>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Tree>
    <p:extLst>
      <p:ext uri="{BB962C8B-B14F-4D97-AF65-F5344CB8AC3E}">
        <p14:creationId xmlns:p14="http://schemas.microsoft.com/office/powerpoint/2010/main" val="2282319698"/>
      </p:ext>
    </p:extLst>
  </p:cSld>
  <p:clrMapOvr>
    <a:masterClrMapping/>
  </p:clrMapOvr>
  <p:transition spd="slow">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echnical BI</a:t>
            </a:r>
            <a:endParaRPr lang="en-US" dirty="0"/>
          </a:p>
        </p:txBody>
      </p:sp>
    </p:spTree>
    <p:extLst>
      <p:ext uri="{BB962C8B-B14F-4D97-AF65-F5344CB8AC3E}">
        <p14:creationId xmlns:p14="http://schemas.microsoft.com/office/powerpoint/2010/main" val="847824949"/>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175280" y="1979525"/>
            <a:ext cx="5870838" cy="3051605"/>
          </a:xfrm>
          <a:prstGeom prst="rect">
            <a:avLst/>
          </a:prstGeom>
          <a:noFill/>
        </p:spPr>
        <p:txBody>
          <a:bodyPr wrap="none" lIns="182880" tIns="146304" rIns="182880" bIns="146304" rtlCol="0">
            <a:spAutoFit/>
          </a:bodyPr>
          <a:lstStyle/>
          <a:p>
            <a:pPr>
              <a:lnSpc>
                <a:spcPct val="90000"/>
              </a:lnSpc>
              <a:spcAft>
                <a:spcPts val="600"/>
              </a:spcAft>
            </a:pPr>
            <a:r>
              <a:rPr lang="en-US" sz="19900" dirty="0" smtClean="0">
                <a:gradFill>
                  <a:gsLst>
                    <a:gs pos="2917">
                      <a:srgbClr val="FFFFFF"/>
                    </a:gs>
                    <a:gs pos="30000">
                      <a:srgbClr val="FFFFFF"/>
                    </a:gs>
                  </a:gsLst>
                  <a:lin ang="5400000" scaled="0"/>
                </a:gradFill>
              </a:rPr>
              <a:t>2008</a:t>
            </a:r>
          </a:p>
        </p:txBody>
      </p:sp>
      <p:sp>
        <p:nvSpPr>
          <p:cNvPr id="3" name="Oval 2"/>
          <p:cNvSpPr/>
          <p:nvPr/>
        </p:nvSpPr>
        <p:spPr bwMode="auto">
          <a:xfrm>
            <a:off x="871949" y="1447927"/>
            <a:ext cx="4343400" cy="4114800"/>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6000" dirty="0" smtClean="0">
                <a:solidFill>
                  <a:srgbClr val="FF0000"/>
                </a:solidFill>
              </a:rPr>
              <a:t>Yes</a:t>
            </a:r>
            <a:r>
              <a:rPr lang="en-US" sz="6000" dirty="0" smtClean="0">
                <a:gradFill>
                  <a:gsLst>
                    <a:gs pos="16814">
                      <a:srgbClr val="FFFFFF"/>
                    </a:gs>
                    <a:gs pos="46000">
                      <a:srgbClr val="FFFFFF"/>
                    </a:gs>
                  </a:gsLst>
                  <a:lin ang="5400000" scaled="0"/>
                </a:gradFill>
              </a:rPr>
              <a:t>,  We </a:t>
            </a:r>
            <a:r>
              <a:rPr lang="en-US" sz="6000" dirty="0" smtClean="0">
                <a:solidFill>
                  <a:srgbClr val="0078D7">
                    <a:lumMod val="75000"/>
                  </a:srgbClr>
                </a:solidFill>
              </a:rPr>
              <a:t>Can!</a:t>
            </a:r>
            <a:r>
              <a:rPr lang="en-US" sz="6000" dirty="0" smtClean="0">
                <a:gradFill>
                  <a:gsLst>
                    <a:gs pos="16814">
                      <a:srgbClr val="FFFFFF"/>
                    </a:gs>
                    <a:gs pos="46000">
                      <a:srgbClr val="FFFFFF"/>
                    </a:gs>
                  </a:gsLst>
                  <a:lin ang="5400000" scaled="0"/>
                </a:gradFill>
              </a:rPr>
              <a:t> </a:t>
            </a:r>
            <a:endParaRPr lang="en-US" sz="6000" dirty="0">
              <a:gradFill>
                <a:gsLst>
                  <a:gs pos="16814">
                    <a:srgbClr val="FFFFFF"/>
                  </a:gs>
                  <a:gs pos="46000">
                    <a:srgbClr val="FFFFFF"/>
                  </a:gs>
                </a:gsLst>
                <a:lin ang="5400000" scaled="0"/>
              </a:gradFill>
            </a:endParaRPr>
          </a:p>
        </p:txBody>
      </p:sp>
    </p:spTree>
    <p:extLst>
      <p:ext uri="{BB962C8B-B14F-4D97-AF65-F5344CB8AC3E}">
        <p14:creationId xmlns:p14="http://schemas.microsoft.com/office/powerpoint/2010/main" val="179117989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1.12331E-7 -4.81616E-6 L 0.25006 -4.81616E-6 " pathEditMode="relative" rAng="0" ptsTypes="AA">
                                      <p:cBhvr>
                                        <p:cTn id="6" dur="2000" fill="hold"/>
                                        <p:tgtEl>
                                          <p:spTgt spid="4"/>
                                        </p:tgtEl>
                                        <p:attrNameLst>
                                          <p:attrName>ppt_x</p:attrName>
                                          <p:attrName>ppt_y</p:attrName>
                                        </p:attrNameLst>
                                      </p:cBhvr>
                                      <p:rCtr x="12497" y="0"/>
                                    </p:animMotion>
                                  </p:childTnLst>
                                </p:cTn>
                              </p:par>
                              <p:par>
                                <p:cTn id="7" presetID="1" presetClass="entr" presetSubtype="0" fill="hold" grpId="0" nodeType="withEffect">
                                  <p:stCondLst>
                                    <p:cond delay="150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_v02.potx" id="{DA6A3121-A306-4E81-BF43-CBCE095D8B76}" vid="{C3266B5A-74AF-44F8-8FA8-F258E4A695D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3.xml><?xml version="1.0" encoding="utf-8"?>
<a:theme xmlns:a="http://schemas.openxmlformats.org/drawingml/2006/main" name="2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4.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5.xml><?xml version="1.0" encoding="utf-8"?>
<a:theme xmlns:a="http://schemas.openxmlformats.org/drawingml/2006/main" name="BUILD CHARCOAL BACKGROUND">
  <a:themeElements>
    <a:clrScheme name="build 2015 colors">
      <a:dk1>
        <a:srgbClr val="333333"/>
      </a:dk1>
      <a:lt1>
        <a:srgbClr val="FFFFFF"/>
      </a:lt1>
      <a:dk2>
        <a:srgbClr val="0078D7"/>
      </a:dk2>
      <a:lt2>
        <a:srgbClr val="ECECEC"/>
      </a:lt2>
      <a:accent1>
        <a:srgbClr val="0078D7"/>
      </a:accent1>
      <a:accent2>
        <a:srgbClr val="6E6D71"/>
      </a:accent2>
      <a:accent3>
        <a:srgbClr val="00BCF2"/>
      </a:accent3>
      <a:accent4>
        <a:srgbClr val="6BB700"/>
      </a:accent4>
      <a:accent5>
        <a:srgbClr val="ABC4C1"/>
      </a:accent5>
      <a:accent6>
        <a:srgbClr val="FF4343"/>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2015_Keynote-Template_v3" id="{16D16FD6-82B1-4517-AB6B-BD72623FF067}" vid="{059D507E-C456-4974-83A1-394505850BFA}"/>
    </a:ext>
  </a:extLst>
</a:theme>
</file>

<file path=ppt/theme/theme6.xml><?xml version="1.0" encoding="utf-8"?>
<a:theme xmlns:a="http://schemas.openxmlformats.org/drawingml/2006/main" name="3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7.xml><?xml version="1.0" encoding="utf-8"?>
<a:theme xmlns:a="http://schemas.openxmlformats.org/drawingml/2006/main" name="4_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8.xml><?xml version="1.0" encoding="utf-8"?>
<a:theme xmlns:a="http://schemas.openxmlformats.org/drawingml/2006/main" name="STB FY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FY15" id="{B6951D69-9212-4560-92AE-B7BEC48B5A26}" vid="{5848858B-DD7A-4025-933E-B0D04E04EE13}"/>
    </a:ext>
  </a:extLst>
</a:theme>
</file>

<file path=ppt/theme/theme9.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5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John Doyle; Kamal Hathi; Sanjay Soni</External_x0020_Speaker>
    <Session_x0020_Code xmlns="12a172fe-0250-434a-85cf-03b10810c5e5"> BRK2556</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9eb2896f-7457-4443-a47b-f60d2d30355c</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12a172fe-0250-434a-85cf-03b10810c5e5"/>
    <ds:schemaRef ds:uri="http://schemas.microsoft.com/sharepoint/v3"/>
    <ds:schemaRef ds:uri="http://purl.org/dc/dcmitype/"/>
    <ds:schemaRef ds:uri="http://schemas.microsoft.com/office/2006/metadata/properties"/>
    <ds:schemaRef ds:uri="http://schemas.microsoft.com/office/2006/documentManagement/types"/>
    <ds:schemaRef ds:uri="http://schemas.openxmlformats.org/package/2006/metadata/core-properties"/>
    <ds:schemaRef ds:uri="230e9df3-be65-4c73-a93b-d1236ebd677e"/>
    <ds:schemaRef ds:uri="http://purl.org/dc/elements/1.1/"/>
    <ds:schemaRef ds:uri="http://purl.org/dc/term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_v02</Template>
  <TotalTime>1058</TotalTime>
  <Words>911</Words>
  <Application>Microsoft Office PowerPoint</Application>
  <PresentationFormat>Custom</PresentationFormat>
  <Paragraphs>186</Paragraphs>
  <Slides>38</Slides>
  <Notes>14</Notes>
  <HiddenSlides>0</HiddenSlides>
  <MMClips>0</MMClips>
  <ScaleCrop>false</ScaleCrop>
  <HeadingPairs>
    <vt:vector size="8" baseType="variant">
      <vt:variant>
        <vt:lpstr>Fonts Used</vt:lpstr>
      </vt:variant>
      <vt:variant>
        <vt:i4>13</vt:i4>
      </vt:variant>
      <vt:variant>
        <vt:lpstr>Theme</vt:lpstr>
      </vt:variant>
      <vt:variant>
        <vt:i4>9</vt:i4>
      </vt:variant>
      <vt:variant>
        <vt:lpstr>Embedded OLE Servers</vt:lpstr>
      </vt:variant>
      <vt:variant>
        <vt:i4>1</vt:i4>
      </vt:variant>
      <vt:variant>
        <vt:lpstr>Slide Titles</vt:lpstr>
      </vt:variant>
      <vt:variant>
        <vt:i4>38</vt:i4>
      </vt:variant>
    </vt:vector>
  </HeadingPairs>
  <TitlesOfParts>
    <vt:vector size="61" baseType="lpstr">
      <vt:lpstr>MS PGothic</vt:lpstr>
      <vt:lpstr>MS PGothic</vt:lpstr>
      <vt:lpstr>Arial</vt:lpstr>
      <vt:lpstr>Avenir LT Pro 45 Book</vt:lpstr>
      <vt:lpstr>Calibri</vt:lpstr>
      <vt:lpstr>Consolas</vt:lpstr>
      <vt:lpstr>Segoe UI</vt:lpstr>
      <vt:lpstr>Segoe UI Light</vt:lpstr>
      <vt:lpstr>Segoe UI Semibold</vt:lpstr>
      <vt:lpstr>Segoe UI Semilight</vt:lpstr>
      <vt:lpstr>Times New Roman</vt:lpstr>
      <vt:lpstr>Wingdings</vt:lpstr>
      <vt:lpstr>Wingdings 3</vt:lpstr>
      <vt:lpstr>5-30610_Microsoft_Ignite_Keynote_Template</vt:lpstr>
      <vt:lpstr>1_5-30610_Microsoft_Ignite_Keynote_Template</vt:lpstr>
      <vt:lpstr>2_5-30610_Microsoft_Ignite_Keynote_Template</vt:lpstr>
      <vt:lpstr>5-30629_Build_Template_WHITE</vt:lpstr>
      <vt:lpstr>BUILD CHARCOAL BACKGROUND</vt:lpstr>
      <vt:lpstr>3_5-30610_Microsoft_Ignite_Keynote_Template</vt:lpstr>
      <vt:lpstr>4_5-30610_Microsoft_Ignite_Keynote_Template</vt:lpstr>
      <vt:lpstr>STB FY15</vt:lpstr>
      <vt:lpstr>2_LIGHT COLOR TEMPLATE</vt:lpstr>
      <vt:lpstr>think-cell Slide</vt:lpstr>
      <vt:lpstr>PowerPoint Presentation</vt:lpstr>
      <vt:lpstr>Please tweet using any of these #tags   #PowerBI,  #MSIgnite,  #msbirocks,  #mspowerbi</vt:lpstr>
      <vt:lpstr>Microsoft BI Overview</vt:lpstr>
      <vt:lpstr>PowerPoint Presentation</vt:lpstr>
      <vt:lpstr>PowerPoint Presentation</vt:lpstr>
      <vt:lpstr>PowerPoint Presentation</vt:lpstr>
      <vt:lpstr>PowerPoint Presentation</vt:lpstr>
      <vt:lpstr>Technical BI</vt:lpstr>
      <vt:lpstr>PowerPoint Presentation</vt:lpstr>
      <vt:lpstr>Power Pivot</vt:lpstr>
      <vt:lpstr>Self Service BI</vt:lpstr>
      <vt:lpstr>PowerPoint Presentation</vt:lpstr>
      <vt:lpstr>How SaaS has shaped markets</vt:lpstr>
      <vt:lpstr>PowerPoint Presentation</vt:lpstr>
      <vt:lpstr>PowerPoint Presentation</vt:lpstr>
      <vt:lpstr>Empowering IT &amp; BI Pro</vt:lpstr>
      <vt:lpstr>SQL Server  BI core investment areas</vt:lpstr>
      <vt:lpstr>Hybrid Easily connect to Power BI</vt:lpstr>
      <vt:lpstr>Enhanced Analysis- Tabular </vt:lpstr>
      <vt:lpstr>Enhanced Analysis - Multidimensional </vt:lpstr>
      <vt:lpstr>SQL Server 2016 </vt:lpstr>
      <vt:lpstr>DATAZEN</vt:lpstr>
      <vt:lpstr>Demo: DATAZEN</vt:lpstr>
      <vt:lpstr>Empowering the Business Analyst </vt:lpstr>
      <vt:lpstr>Power BI Designer </vt:lpstr>
      <vt:lpstr>Demo: Power BI Designer</vt:lpstr>
      <vt:lpstr>Empowering Business Users </vt:lpstr>
      <vt:lpstr>PowerPoint Presentation</vt:lpstr>
      <vt:lpstr>Demo: Power BI</vt:lpstr>
      <vt:lpstr>Power BI App for Windows 8 Desktop and Surface </vt:lpstr>
      <vt:lpstr>Get started quickly   Prebuilt content packs for popular services</vt:lpstr>
      <vt:lpstr>PowerPoint Presentation</vt:lpstr>
      <vt:lpstr>Demo: End to End</vt:lpstr>
      <vt:lpstr>It’s easy to get started…</vt:lpstr>
      <vt:lpstr>Investment across all BI waves</vt:lpstr>
      <vt:lpstr>Our BI Sessions at this conference</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I Overview</dc:title>
  <dc:subject>Microsoft Ignite 2015</dc:subject>
  <dc:creator>Shows</dc:creator>
  <cp:keywords>Microsoft Ignite 2015</cp:keywords>
  <dc:description>Template: Mitchell Derrey, Silver Fox Productions
Formatting: 
Audience Type: Internal/External</dc:description>
  <cp:lastModifiedBy>Kaylee McAvoy</cp:lastModifiedBy>
  <cp:revision>11</cp:revision>
  <dcterms:created xsi:type="dcterms:W3CDTF">2015-05-02T19:19:45Z</dcterms:created>
  <dcterms:modified xsi:type="dcterms:W3CDTF">2015-05-05T15:5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